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notesSlides/notesSlide1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>
  <p:sldMasterIdLst>
    <p:sldMasterId id="2147483648" r:id="rId4"/>
  </p:sldMasterIdLst>
  <p:notesMasterIdLst>
    <p:notesMasterId r:id="rId6"/>
  </p:notesMasterIdLst>
  <p:handoutMasterIdLst>
    <p:handoutMasterId r:id="rId7"/>
  </p:handoutMasterIdLst>
  <p:sldIdLst>
    <p:sldId id="290" r:id="rId5"/>
  </p:sldIdLst>
  <p:sldSz cx="12192000" cy="6858000"/>
  <p:notesSz cx="7010400" cy="9296400"/>
  <p:embeddedFontLst>
    <p:embeddedFont>
      <p:font typeface="Arial Narrow" panose="020B0606020202030204" pitchFamily="34" charset="0"/>
      <p:regular r:id="rId8"/>
      <p:bold r:id="rId9"/>
      <p:italic r:id="rId10"/>
      <p:boldItalic r:id="rId11"/>
    </p:embeddedFont>
    <p:embeddedFont>
      <p:font typeface="PTCRaleway" panose="020B0604020202020204" charset="0"/>
      <p:regular r:id="rId12"/>
      <p:bold r:id="rId13"/>
      <p:italic r:id="rId14"/>
      <p:boldItalic r:id="rId15"/>
    </p:embeddedFont>
    <p:embeddedFont>
      <p:font typeface="PTCRaleway Black" panose="020B0604020202020204" charset="0"/>
      <p:bold r:id="rId16"/>
      <p:boldItalic r:id="rId17"/>
    </p:embeddedFont>
  </p:embeddedFontLst>
  <p:defaultTextStyle>
    <a:defPPr>
      <a:defRPr lang="en-US"/>
    </a:defPPr>
    <a:lvl1pPr marL="0" algn="l" defTabSz="1086775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1pPr>
    <a:lvl2pPr marL="543388" algn="l" defTabSz="1086775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2pPr>
    <a:lvl3pPr marL="1086775" algn="l" defTabSz="1086775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3pPr>
    <a:lvl4pPr marL="1630163" algn="l" defTabSz="1086775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4pPr>
    <a:lvl5pPr marL="2173551" algn="l" defTabSz="1086775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5pPr>
    <a:lvl6pPr marL="2716938" algn="l" defTabSz="1086775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6pPr>
    <a:lvl7pPr marL="3260326" algn="l" defTabSz="1086775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7pPr>
    <a:lvl8pPr marL="3803713" algn="l" defTabSz="1086775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8pPr>
    <a:lvl9pPr marL="4347102" algn="l" defTabSz="1086775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8" orient="horz" pos="888" userDrawn="1">
          <p15:clr>
            <a:srgbClr val="A4A3A4"/>
          </p15:clr>
        </p15:guide>
        <p15:guide id="23" orient="horz" pos="600" userDrawn="1">
          <p15:clr>
            <a:srgbClr val="A4A3A4"/>
          </p15:clr>
        </p15:guide>
        <p15:guide id="26" pos="312" userDrawn="1">
          <p15:clr>
            <a:srgbClr val="A4A3A4"/>
          </p15:clr>
        </p15:guide>
        <p15:guide id="27" pos="7416" userDrawn="1">
          <p15:clr>
            <a:srgbClr val="A4A3A4"/>
          </p15:clr>
        </p15:guide>
        <p15:guide id="28" orient="horz" pos="4152" userDrawn="1">
          <p15:clr>
            <a:srgbClr val="A4A3A4"/>
          </p15:clr>
        </p15:guide>
        <p15:guide id="29" orient="horz" pos="1176" userDrawn="1">
          <p15:clr>
            <a:srgbClr val="A4A3A4"/>
          </p15:clr>
        </p15:guide>
        <p15:guide id="30" orient="horz" pos="1344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cCagg, Marty" initials="MM" lastIdx="9" clrIdx="0">
    <p:extLst>
      <p:ext uri="{19B8F6BF-5375-455C-9EA6-DF929625EA0E}">
        <p15:presenceInfo xmlns:p15="http://schemas.microsoft.com/office/powerpoint/2012/main" userId="S::mmccagg@ptc.com::c2c447df-6635-47d9-b22f-40274ed5ccf9" providerId="AD"/>
      </p:ext>
    </p:extLst>
  </p:cmAuthor>
  <p:cmAuthor id="2" name="Author" initials="A" lastIdx="189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9EAEA"/>
    <a:srgbClr val="BFBFBF"/>
    <a:srgbClr val="4D585A"/>
    <a:srgbClr val="FFFFFF"/>
    <a:srgbClr val="3D4647"/>
    <a:srgbClr val="AA9103"/>
    <a:srgbClr val="12581A"/>
    <a:srgbClr val="3C4647"/>
    <a:srgbClr val="C8C9C7"/>
    <a:srgbClr val="FCB53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90AB4D30-48C4-4682-BFF1-114A65A1ABB8}" v="27" dt="2022-07-27T15:30:35.796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0988" autoAdjust="0"/>
    <p:restoredTop sz="87335" autoAdjust="0"/>
  </p:normalViewPr>
  <p:slideViewPr>
    <p:cSldViewPr snapToGrid="0" snapToObjects="1">
      <p:cViewPr varScale="1">
        <p:scale>
          <a:sx n="82" d="100"/>
          <a:sy n="82" d="100"/>
        </p:scale>
        <p:origin x="902" y="58"/>
      </p:cViewPr>
      <p:guideLst>
        <p:guide orient="horz" pos="888"/>
        <p:guide orient="horz" pos="600"/>
        <p:guide pos="312"/>
        <p:guide pos="7416"/>
        <p:guide orient="horz" pos="4152"/>
        <p:guide orient="horz" pos="1176"/>
        <p:guide orient="horz" pos="1344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-12582"/>
    </p:cViewPr>
  </p:sorterViewPr>
  <p:notesViewPr>
    <p:cSldViewPr snapToGrid="0" snapToObjects="1">
      <p:cViewPr varScale="1">
        <p:scale>
          <a:sx n="83" d="100"/>
          <a:sy n="83" d="100"/>
        </p:scale>
        <p:origin x="3810" y="96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font" Target="fonts/font1.fntdata"/><Relationship Id="rId13" Type="http://schemas.openxmlformats.org/officeDocument/2006/relationships/font" Target="fonts/font6.fntdata"/><Relationship Id="rId18" Type="http://schemas.openxmlformats.org/officeDocument/2006/relationships/commentAuthors" Target="commentAuthors.xml"/><Relationship Id="rId3" Type="http://schemas.openxmlformats.org/officeDocument/2006/relationships/customXml" Target="../customXml/item3.xml"/><Relationship Id="rId21" Type="http://schemas.openxmlformats.org/officeDocument/2006/relationships/theme" Target="theme/theme1.xml"/><Relationship Id="rId7" Type="http://schemas.openxmlformats.org/officeDocument/2006/relationships/handoutMaster" Target="handoutMasters/handoutMaster1.xml"/><Relationship Id="rId12" Type="http://schemas.openxmlformats.org/officeDocument/2006/relationships/font" Target="fonts/font5.fntdata"/><Relationship Id="rId17" Type="http://schemas.openxmlformats.org/officeDocument/2006/relationships/font" Target="fonts/font10.fntdata"/><Relationship Id="rId2" Type="http://schemas.openxmlformats.org/officeDocument/2006/relationships/customXml" Target="../customXml/item2.xml"/><Relationship Id="rId16" Type="http://schemas.openxmlformats.org/officeDocument/2006/relationships/font" Target="fonts/font9.fntdata"/><Relationship Id="rId20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notesMaster" Target="notesMasters/notesMaster1.xml"/><Relationship Id="rId11" Type="http://schemas.openxmlformats.org/officeDocument/2006/relationships/font" Target="fonts/font4.fntdata"/><Relationship Id="rId24" Type="http://schemas.microsoft.com/office/2015/10/relationships/revisionInfo" Target="revisionInfo.xml"/><Relationship Id="rId5" Type="http://schemas.openxmlformats.org/officeDocument/2006/relationships/slide" Target="slides/slide1.xml"/><Relationship Id="rId15" Type="http://schemas.openxmlformats.org/officeDocument/2006/relationships/font" Target="fonts/font8.fntdata"/><Relationship Id="rId23" Type="http://schemas.microsoft.com/office/2016/11/relationships/changesInfo" Target="changesInfos/changesInfo1.xml"/><Relationship Id="rId10" Type="http://schemas.openxmlformats.org/officeDocument/2006/relationships/font" Target="fonts/font3.fntdata"/><Relationship Id="rId19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font" Target="fonts/font2.fntdata"/><Relationship Id="rId14" Type="http://schemas.openxmlformats.org/officeDocument/2006/relationships/font" Target="fonts/font7.fntdata"/><Relationship Id="rId22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Raether, Jerry" userId="14db987c-f35f-4c71-8653-84d365bd3bb9" providerId="ADAL" clId="{90AB4D30-48C4-4682-BFF1-114A65A1ABB8}"/>
    <pc:docChg chg="custSel delSld modSld">
      <pc:chgData name="Raether, Jerry" userId="14db987c-f35f-4c71-8653-84d365bd3bb9" providerId="ADAL" clId="{90AB4D30-48C4-4682-BFF1-114A65A1ABB8}" dt="2022-07-27T15:29:13.971" v="1042"/>
      <pc:docMkLst>
        <pc:docMk/>
      </pc:docMkLst>
      <pc:sldChg chg="addSp modSp mod modNotesTx">
        <pc:chgData name="Raether, Jerry" userId="14db987c-f35f-4c71-8653-84d365bd3bb9" providerId="ADAL" clId="{90AB4D30-48C4-4682-BFF1-114A65A1ABB8}" dt="2022-07-27T15:11:04.308" v="1025" actId="20577"/>
        <pc:sldMkLst>
          <pc:docMk/>
          <pc:sldMk cId="414466384" sldId="256"/>
        </pc:sldMkLst>
        <pc:spChg chg="mod">
          <ac:chgData name="Raether, Jerry" userId="14db987c-f35f-4c71-8653-84d365bd3bb9" providerId="ADAL" clId="{90AB4D30-48C4-4682-BFF1-114A65A1ABB8}" dt="2022-07-27T15:11:04.308" v="1025" actId="20577"/>
          <ac:spMkLst>
            <pc:docMk/>
            <pc:sldMk cId="414466384" sldId="256"/>
            <ac:spMk id="5" creationId="{650B538C-8E9C-428A-8731-F59D383BA40D}"/>
          </ac:spMkLst>
        </pc:spChg>
        <pc:spChg chg="add mod">
          <ac:chgData name="Raether, Jerry" userId="14db987c-f35f-4c71-8653-84d365bd3bb9" providerId="ADAL" clId="{90AB4D30-48C4-4682-BFF1-114A65A1ABB8}" dt="2022-06-29T23:32:29.783" v="984" actId="6549"/>
          <ac:spMkLst>
            <pc:docMk/>
            <pc:sldMk cId="414466384" sldId="256"/>
            <ac:spMk id="8" creationId="{895474DD-2346-463E-B260-54DBFBB56DDB}"/>
          </ac:spMkLst>
        </pc:spChg>
      </pc:sldChg>
      <pc:sldChg chg="addSp delSp modSp">
        <pc:chgData name="Raether, Jerry" userId="14db987c-f35f-4c71-8653-84d365bd3bb9" providerId="ADAL" clId="{90AB4D30-48C4-4682-BFF1-114A65A1ABB8}" dt="2022-07-27T15:24:26.713" v="1040"/>
        <pc:sldMkLst>
          <pc:docMk/>
          <pc:sldMk cId="1304444699" sldId="293"/>
        </pc:sldMkLst>
        <pc:picChg chg="del">
          <ac:chgData name="Raether, Jerry" userId="14db987c-f35f-4c71-8653-84d365bd3bb9" providerId="ADAL" clId="{90AB4D30-48C4-4682-BFF1-114A65A1ABB8}" dt="2022-07-27T15:23:23.900" v="1037" actId="478"/>
          <ac:picMkLst>
            <pc:docMk/>
            <pc:sldMk cId="1304444699" sldId="293"/>
            <ac:picMk id="8" creationId="{860251A1-0C11-4324-A7BC-C4B98D89A538}"/>
          </ac:picMkLst>
        </pc:picChg>
        <pc:picChg chg="add del mod">
          <ac:chgData name="Raether, Jerry" userId="14db987c-f35f-4c71-8653-84d365bd3bb9" providerId="ADAL" clId="{90AB4D30-48C4-4682-BFF1-114A65A1ABB8}" dt="2022-07-27T15:24:09.057" v="1039" actId="478"/>
          <ac:picMkLst>
            <pc:docMk/>
            <pc:sldMk cId="1304444699" sldId="293"/>
            <ac:picMk id="22" creationId="{25A5B10F-9A1E-4B68-8FDC-844F6E678E1E}"/>
          </ac:picMkLst>
        </pc:picChg>
        <pc:picChg chg="add mod">
          <ac:chgData name="Raether, Jerry" userId="14db987c-f35f-4c71-8653-84d365bd3bb9" providerId="ADAL" clId="{90AB4D30-48C4-4682-BFF1-114A65A1ABB8}" dt="2022-07-27T15:24:26.713" v="1040"/>
          <ac:picMkLst>
            <pc:docMk/>
            <pc:sldMk cId="1304444699" sldId="293"/>
            <ac:picMk id="23" creationId="{C1D7CB09-9D53-4993-8B07-C74324C17B69}"/>
          </ac:picMkLst>
        </pc:picChg>
      </pc:sldChg>
      <pc:sldChg chg="modSp mod">
        <pc:chgData name="Raether, Jerry" userId="14db987c-f35f-4c71-8653-84d365bd3bb9" providerId="ADAL" clId="{90AB4D30-48C4-4682-BFF1-114A65A1ABB8}" dt="2022-07-27T15:14:42.086" v="1034" actId="6549"/>
        <pc:sldMkLst>
          <pc:docMk/>
          <pc:sldMk cId="1354864347" sldId="316"/>
        </pc:sldMkLst>
        <pc:spChg chg="mod">
          <ac:chgData name="Raether, Jerry" userId="14db987c-f35f-4c71-8653-84d365bd3bb9" providerId="ADAL" clId="{90AB4D30-48C4-4682-BFF1-114A65A1ABB8}" dt="2022-07-27T15:14:42.086" v="1034" actId="6549"/>
          <ac:spMkLst>
            <pc:docMk/>
            <pc:sldMk cId="1354864347" sldId="316"/>
            <ac:spMk id="5" creationId="{00000000-0000-0000-0000-000000000000}"/>
          </ac:spMkLst>
        </pc:spChg>
      </pc:sldChg>
      <pc:sldChg chg="del">
        <pc:chgData name="Raether, Jerry" userId="14db987c-f35f-4c71-8653-84d365bd3bb9" providerId="ADAL" clId="{90AB4D30-48C4-4682-BFF1-114A65A1ABB8}" dt="2022-05-12T20:59:37.483" v="348" actId="47"/>
        <pc:sldMkLst>
          <pc:docMk/>
          <pc:sldMk cId="2090238529" sldId="323"/>
        </pc:sldMkLst>
      </pc:sldChg>
      <pc:sldChg chg="modSp mod">
        <pc:chgData name="Raether, Jerry" userId="14db987c-f35f-4c71-8653-84d365bd3bb9" providerId="ADAL" clId="{90AB4D30-48C4-4682-BFF1-114A65A1ABB8}" dt="2022-05-12T21:37:12.715" v="475"/>
        <pc:sldMkLst>
          <pc:docMk/>
          <pc:sldMk cId="888175597" sldId="326"/>
        </pc:sldMkLst>
        <pc:spChg chg="mod">
          <ac:chgData name="Raether, Jerry" userId="14db987c-f35f-4c71-8653-84d365bd3bb9" providerId="ADAL" clId="{90AB4D30-48C4-4682-BFF1-114A65A1ABB8}" dt="2022-05-12T21:00:14.319" v="376" actId="14100"/>
          <ac:spMkLst>
            <pc:docMk/>
            <pc:sldMk cId="888175597" sldId="326"/>
            <ac:spMk id="3" creationId="{DB42A882-3395-4499-BFC7-78DDD2DD0A09}"/>
          </ac:spMkLst>
        </pc:spChg>
        <pc:spChg chg="mod">
          <ac:chgData name="Raether, Jerry" userId="14db987c-f35f-4c71-8653-84d365bd3bb9" providerId="ADAL" clId="{90AB4D30-48C4-4682-BFF1-114A65A1ABB8}" dt="2022-05-12T21:37:12.715" v="475"/>
          <ac:spMkLst>
            <pc:docMk/>
            <pc:sldMk cId="888175597" sldId="326"/>
            <ac:spMk id="5" creationId="{00000000-0000-0000-0000-000000000000}"/>
          </ac:spMkLst>
        </pc:spChg>
      </pc:sldChg>
      <pc:sldChg chg="modNotesTx">
        <pc:chgData name="Raether, Jerry" userId="14db987c-f35f-4c71-8653-84d365bd3bb9" providerId="ADAL" clId="{90AB4D30-48C4-4682-BFF1-114A65A1ABB8}" dt="2022-05-12T21:02:40.748" v="440" actId="20577"/>
        <pc:sldMkLst>
          <pc:docMk/>
          <pc:sldMk cId="1228136347" sldId="331"/>
        </pc:sldMkLst>
      </pc:sldChg>
      <pc:sldChg chg="modSp mod">
        <pc:chgData name="Raether, Jerry" userId="14db987c-f35f-4c71-8653-84d365bd3bb9" providerId="ADAL" clId="{90AB4D30-48C4-4682-BFF1-114A65A1ABB8}" dt="2022-06-29T23:17:04.476" v="523" actId="20577"/>
        <pc:sldMkLst>
          <pc:docMk/>
          <pc:sldMk cId="3672931568" sldId="375"/>
        </pc:sldMkLst>
        <pc:graphicFrameChg chg="modGraphic">
          <ac:chgData name="Raether, Jerry" userId="14db987c-f35f-4c71-8653-84d365bd3bb9" providerId="ADAL" clId="{90AB4D30-48C4-4682-BFF1-114A65A1ABB8}" dt="2022-06-29T23:17:04.476" v="523" actId="20577"/>
          <ac:graphicFrameMkLst>
            <pc:docMk/>
            <pc:sldMk cId="3672931568" sldId="375"/>
            <ac:graphicFrameMk id="15" creationId="{10533E11-6D14-4282-942B-C43EC19E3E8B}"/>
          </ac:graphicFrameMkLst>
        </pc:graphicFrameChg>
      </pc:sldChg>
      <pc:sldChg chg="modNotesTx">
        <pc:chgData name="Raether, Jerry" userId="14db987c-f35f-4c71-8653-84d365bd3bb9" providerId="ADAL" clId="{90AB4D30-48C4-4682-BFF1-114A65A1ABB8}" dt="2022-05-12T21:36:57.402" v="474" actId="6549"/>
        <pc:sldMkLst>
          <pc:docMk/>
          <pc:sldMk cId="1948550152" sldId="3602"/>
        </pc:sldMkLst>
      </pc:sldChg>
      <pc:sldChg chg="modSp mod">
        <pc:chgData name="Raether, Jerry" userId="14db987c-f35f-4c71-8653-84d365bd3bb9" providerId="ADAL" clId="{90AB4D30-48C4-4682-BFF1-114A65A1ABB8}" dt="2022-05-12T20:54:33.501" v="297" actId="20577"/>
        <pc:sldMkLst>
          <pc:docMk/>
          <pc:sldMk cId="2673167439" sldId="3603"/>
        </pc:sldMkLst>
        <pc:graphicFrameChg chg="modGraphic">
          <ac:chgData name="Raether, Jerry" userId="14db987c-f35f-4c71-8653-84d365bd3bb9" providerId="ADAL" clId="{90AB4D30-48C4-4682-BFF1-114A65A1ABB8}" dt="2022-05-12T20:54:33.501" v="297" actId="20577"/>
          <ac:graphicFrameMkLst>
            <pc:docMk/>
            <pc:sldMk cId="2673167439" sldId="3603"/>
            <ac:graphicFrameMk id="15" creationId="{79A69B24-3C06-4421-96BE-892291FE5A1F}"/>
          </ac:graphicFrameMkLst>
        </pc:graphicFrameChg>
      </pc:sldChg>
      <pc:sldChg chg="modSp mod modNotes">
        <pc:chgData name="Raether, Jerry" userId="14db987c-f35f-4c71-8653-84d365bd3bb9" providerId="ADAL" clId="{90AB4D30-48C4-4682-BFF1-114A65A1ABB8}" dt="2022-05-24T17:35:41.509" v="511" actId="20577"/>
        <pc:sldMkLst>
          <pc:docMk/>
          <pc:sldMk cId="3222589753" sldId="3610"/>
        </pc:sldMkLst>
        <pc:graphicFrameChg chg="mod modGraphic">
          <ac:chgData name="Raether, Jerry" userId="14db987c-f35f-4c71-8653-84d365bd3bb9" providerId="ADAL" clId="{90AB4D30-48C4-4682-BFF1-114A65A1ABB8}" dt="2022-05-24T17:35:41.509" v="511" actId="20577"/>
          <ac:graphicFrameMkLst>
            <pc:docMk/>
            <pc:sldMk cId="3222589753" sldId="3610"/>
            <ac:graphicFrameMk id="13" creationId="{D23686F0-C751-4A65-AE04-19F6DD98360D}"/>
          </ac:graphicFrameMkLst>
        </pc:graphicFrameChg>
      </pc:sldChg>
      <pc:sldChg chg="addSp delSp modSp mod">
        <pc:chgData name="Raether, Jerry" userId="14db987c-f35f-4c71-8653-84d365bd3bb9" providerId="ADAL" clId="{90AB4D30-48C4-4682-BFF1-114A65A1ABB8}" dt="2022-07-27T15:29:13.971" v="1042"/>
        <pc:sldMkLst>
          <pc:docMk/>
          <pc:sldMk cId="3559413987" sldId="3612"/>
        </pc:sldMkLst>
        <pc:spChg chg="mod">
          <ac:chgData name="Raether, Jerry" userId="14db987c-f35f-4c71-8653-84d365bd3bb9" providerId="ADAL" clId="{90AB4D30-48C4-4682-BFF1-114A65A1ABB8}" dt="2022-05-12T20:57:48.677" v="325" actId="1036"/>
          <ac:spMkLst>
            <pc:docMk/>
            <pc:sldMk cId="3559413987" sldId="3612"/>
            <ac:spMk id="5" creationId="{00000000-0000-0000-0000-000000000000}"/>
          </ac:spMkLst>
        </pc:spChg>
        <pc:spChg chg="mod">
          <ac:chgData name="Raether, Jerry" userId="14db987c-f35f-4c71-8653-84d365bd3bb9" providerId="ADAL" clId="{90AB4D30-48C4-4682-BFF1-114A65A1ABB8}" dt="2022-05-12T20:57:37.977" v="315" actId="1036"/>
          <ac:spMkLst>
            <pc:docMk/>
            <pc:sldMk cId="3559413987" sldId="3612"/>
            <ac:spMk id="13" creationId="{76513160-9BF9-4D67-8C54-CBD65A69F485}"/>
          </ac:spMkLst>
        </pc:spChg>
        <pc:spChg chg="del mod">
          <ac:chgData name="Raether, Jerry" userId="14db987c-f35f-4c71-8653-84d365bd3bb9" providerId="ADAL" clId="{90AB4D30-48C4-4682-BFF1-114A65A1ABB8}" dt="2022-05-12T20:58:19.938" v="335" actId="478"/>
          <ac:spMkLst>
            <pc:docMk/>
            <pc:sldMk cId="3559413987" sldId="3612"/>
            <ac:spMk id="17" creationId="{0FA4489C-D1EA-4EC8-A497-969A8BE1EE0D}"/>
          </ac:spMkLst>
        </pc:spChg>
        <pc:spChg chg="del">
          <ac:chgData name="Raether, Jerry" userId="14db987c-f35f-4c71-8653-84d365bd3bb9" providerId="ADAL" clId="{90AB4D30-48C4-4682-BFF1-114A65A1ABB8}" dt="2022-05-12T20:58:26.966" v="338" actId="478"/>
          <ac:spMkLst>
            <pc:docMk/>
            <pc:sldMk cId="3559413987" sldId="3612"/>
            <ac:spMk id="24" creationId="{4EF01C5F-1A1A-4E76-9819-7924B25A5753}"/>
          </ac:spMkLst>
        </pc:spChg>
        <pc:graphicFrameChg chg="modGraphic">
          <ac:chgData name="Raether, Jerry" userId="14db987c-f35f-4c71-8653-84d365bd3bb9" providerId="ADAL" clId="{90AB4D30-48C4-4682-BFF1-114A65A1ABB8}" dt="2022-05-12T20:57:09.252" v="305" actId="20577"/>
          <ac:graphicFrameMkLst>
            <pc:docMk/>
            <pc:sldMk cId="3559413987" sldId="3612"/>
            <ac:graphicFrameMk id="20" creationId="{2A3B3914-05EB-4FC6-9A6C-5211A6EE97E2}"/>
          </ac:graphicFrameMkLst>
        </pc:graphicFrameChg>
        <pc:picChg chg="add mod">
          <ac:chgData name="Raether, Jerry" userId="14db987c-f35f-4c71-8653-84d365bd3bb9" providerId="ADAL" clId="{90AB4D30-48C4-4682-BFF1-114A65A1ABB8}" dt="2022-07-27T15:29:13.971" v="1042"/>
          <ac:picMkLst>
            <pc:docMk/>
            <pc:sldMk cId="3559413987" sldId="3612"/>
            <ac:picMk id="9" creationId="{7FFF7952-D042-4FAA-8AB5-B8A5A5A0607D}"/>
          </ac:picMkLst>
        </pc:picChg>
        <pc:picChg chg="del">
          <ac:chgData name="Raether, Jerry" userId="14db987c-f35f-4c71-8653-84d365bd3bb9" providerId="ADAL" clId="{90AB4D30-48C4-4682-BFF1-114A65A1ABB8}" dt="2022-07-27T15:28:27.948" v="1041" actId="478"/>
          <ac:picMkLst>
            <pc:docMk/>
            <pc:sldMk cId="3559413987" sldId="3612"/>
            <ac:picMk id="11" creationId="{D83D159A-615F-4E48-A641-63296391D1A3}"/>
          </ac:picMkLst>
        </pc:picChg>
        <pc:picChg chg="mod">
          <ac:chgData name="Raether, Jerry" userId="14db987c-f35f-4c71-8653-84d365bd3bb9" providerId="ADAL" clId="{90AB4D30-48C4-4682-BFF1-114A65A1ABB8}" dt="2022-05-12T20:58:29.238" v="339" actId="1076"/>
          <ac:picMkLst>
            <pc:docMk/>
            <pc:sldMk cId="3559413987" sldId="3612"/>
            <ac:picMk id="21" creationId="{A3706D9C-7B15-45A9-A8C7-C2D3B394CFF4}"/>
          </ac:picMkLst>
        </pc:picChg>
        <pc:picChg chg="mod">
          <ac:chgData name="Raether, Jerry" userId="14db987c-f35f-4c71-8653-84d365bd3bb9" providerId="ADAL" clId="{90AB4D30-48C4-4682-BFF1-114A65A1ABB8}" dt="2022-05-12T20:58:22.429" v="336" actId="1076"/>
          <ac:picMkLst>
            <pc:docMk/>
            <pc:sldMk cId="3559413987" sldId="3612"/>
            <ac:picMk id="23" creationId="{B87A4B5B-D98E-4FE0-8197-F3DEA0C37D34}"/>
          </ac:picMkLst>
        </pc:picChg>
      </pc:sldChg>
      <pc:sldChg chg="del">
        <pc:chgData name="Raether, Jerry" userId="14db987c-f35f-4c71-8653-84d365bd3bb9" providerId="ADAL" clId="{90AB4D30-48C4-4682-BFF1-114A65A1ABB8}" dt="2022-05-12T20:59:39.205" v="349" actId="47"/>
        <pc:sldMkLst>
          <pc:docMk/>
          <pc:sldMk cId="1692230619" sldId="3614"/>
        </pc:sldMkLst>
      </pc:sldChg>
      <pc:sldChg chg="modSp mod">
        <pc:chgData name="Raether, Jerry" userId="14db987c-f35f-4c71-8653-84d365bd3bb9" providerId="ADAL" clId="{90AB4D30-48C4-4682-BFF1-114A65A1ABB8}" dt="2022-05-12T21:36:22.224" v="448" actId="20577"/>
        <pc:sldMkLst>
          <pc:docMk/>
          <pc:sldMk cId="4133373926" sldId="3619"/>
        </pc:sldMkLst>
        <pc:spChg chg="mod">
          <ac:chgData name="Raether, Jerry" userId="14db987c-f35f-4c71-8653-84d365bd3bb9" providerId="ADAL" clId="{90AB4D30-48C4-4682-BFF1-114A65A1ABB8}" dt="2022-05-12T20:49:13.470" v="202"/>
          <ac:spMkLst>
            <pc:docMk/>
            <pc:sldMk cId="4133373926" sldId="3619"/>
            <ac:spMk id="5" creationId="{00000000-0000-0000-0000-000000000000}"/>
          </ac:spMkLst>
        </pc:spChg>
        <pc:spChg chg="mod">
          <ac:chgData name="Raether, Jerry" userId="14db987c-f35f-4c71-8653-84d365bd3bb9" providerId="ADAL" clId="{90AB4D30-48C4-4682-BFF1-114A65A1ABB8}" dt="2022-05-12T21:36:22.224" v="448" actId="20577"/>
          <ac:spMkLst>
            <pc:docMk/>
            <pc:sldMk cId="4133373926" sldId="3619"/>
            <ac:spMk id="6" creationId="{00000000-0000-0000-0000-000000000000}"/>
          </ac:spMkLst>
        </pc:spChg>
        <pc:spChg chg="mod">
          <ac:chgData name="Raether, Jerry" userId="14db987c-f35f-4c71-8653-84d365bd3bb9" providerId="ADAL" clId="{90AB4D30-48C4-4682-BFF1-114A65A1ABB8}" dt="2022-05-12T20:49:31.981" v="203" actId="33524"/>
          <ac:spMkLst>
            <pc:docMk/>
            <pc:sldMk cId="4133373926" sldId="3619"/>
            <ac:spMk id="13" creationId="{B431345D-4ACB-4F7F-AC85-B1A8E38BB4B1}"/>
          </ac:spMkLst>
        </pc:spChg>
        <pc:spChg chg="mod">
          <ac:chgData name="Raether, Jerry" userId="14db987c-f35f-4c71-8653-84d365bd3bb9" providerId="ADAL" clId="{90AB4D30-48C4-4682-BFF1-114A65A1ABB8}" dt="2022-05-12T20:49:49.103" v="217" actId="6549"/>
          <ac:spMkLst>
            <pc:docMk/>
            <pc:sldMk cId="4133373926" sldId="3619"/>
            <ac:spMk id="17" creationId="{BDFD3054-8D53-4BD8-B2CA-B2964856F366}"/>
          </ac:spMkLst>
        </pc:spChg>
        <pc:spChg chg="mod">
          <ac:chgData name="Raether, Jerry" userId="14db987c-f35f-4c71-8653-84d365bd3bb9" providerId="ADAL" clId="{90AB4D30-48C4-4682-BFF1-114A65A1ABB8}" dt="2022-05-12T20:49:56.837" v="231" actId="6549"/>
          <ac:spMkLst>
            <pc:docMk/>
            <pc:sldMk cId="4133373926" sldId="3619"/>
            <ac:spMk id="19" creationId="{BF2BB4F5-6BBE-4313-8093-E026F250E3B6}"/>
          </ac:spMkLst>
        </pc:spChg>
        <pc:picChg chg="mod">
          <ac:chgData name="Raether, Jerry" userId="14db987c-f35f-4c71-8653-84d365bd3bb9" providerId="ADAL" clId="{90AB4D30-48C4-4682-BFF1-114A65A1ABB8}" dt="2022-05-12T20:50:04.172" v="233" actId="1076"/>
          <ac:picMkLst>
            <pc:docMk/>
            <pc:sldMk cId="4133373926" sldId="3619"/>
            <ac:picMk id="25" creationId="{67855199-ECDE-411B-BC67-8775679F27E1}"/>
          </ac:picMkLst>
        </pc:picChg>
        <pc:picChg chg="mod">
          <ac:chgData name="Raether, Jerry" userId="14db987c-f35f-4c71-8653-84d365bd3bb9" providerId="ADAL" clId="{90AB4D30-48C4-4682-BFF1-114A65A1ABB8}" dt="2022-05-12T20:50:05.483" v="234" actId="1076"/>
          <ac:picMkLst>
            <pc:docMk/>
            <pc:sldMk cId="4133373926" sldId="3619"/>
            <ac:picMk id="26" creationId="{42B591F1-A686-4DC9-9787-B25FEC953005}"/>
          </ac:picMkLst>
        </pc:picChg>
      </pc:sldChg>
      <pc:sldChg chg="addSp delSp modSp">
        <pc:chgData name="Raether, Jerry" userId="14db987c-f35f-4c71-8653-84d365bd3bb9" providerId="ADAL" clId="{90AB4D30-48C4-4682-BFF1-114A65A1ABB8}" dt="2022-07-27T15:16:52.227" v="1036"/>
        <pc:sldMkLst>
          <pc:docMk/>
          <pc:sldMk cId="1490288003" sldId="3620"/>
        </pc:sldMkLst>
        <pc:picChg chg="del">
          <ac:chgData name="Raether, Jerry" userId="14db987c-f35f-4c71-8653-84d365bd3bb9" providerId="ADAL" clId="{90AB4D30-48C4-4682-BFF1-114A65A1ABB8}" dt="2022-07-27T15:16:50.963" v="1035" actId="478"/>
          <ac:picMkLst>
            <pc:docMk/>
            <pc:sldMk cId="1490288003" sldId="3620"/>
            <ac:picMk id="9" creationId="{18104B31-8DD4-4248-9C46-38658EA94F6D}"/>
          </ac:picMkLst>
        </pc:picChg>
        <pc:picChg chg="add mod">
          <ac:chgData name="Raether, Jerry" userId="14db987c-f35f-4c71-8653-84d365bd3bb9" providerId="ADAL" clId="{90AB4D30-48C4-4682-BFF1-114A65A1ABB8}" dt="2022-07-27T15:16:52.227" v="1036"/>
          <ac:picMkLst>
            <pc:docMk/>
            <pc:sldMk cId="1490288003" sldId="3620"/>
            <ac:picMk id="24" creationId="{F5D87CE3-EF10-433E-8969-94C7EA8FEEA4}"/>
          </ac:picMkLst>
        </pc:picChg>
      </pc:sldChg>
      <pc:sldChg chg="modSp mod modNotesTx">
        <pc:chgData name="Raether, Jerry" userId="14db987c-f35f-4c71-8653-84d365bd3bb9" providerId="ADAL" clId="{90AB4D30-48C4-4682-BFF1-114A65A1ABB8}" dt="2022-06-29T23:36:01.799" v="1021" actId="6549"/>
        <pc:sldMkLst>
          <pc:docMk/>
          <pc:sldMk cId="3626150123" sldId="4263"/>
        </pc:sldMkLst>
        <pc:spChg chg="mod">
          <ac:chgData name="Raether, Jerry" userId="14db987c-f35f-4c71-8653-84d365bd3bb9" providerId="ADAL" clId="{90AB4D30-48C4-4682-BFF1-114A65A1ABB8}" dt="2022-06-29T23:36:01.799" v="1021" actId="6549"/>
          <ac:spMkLst>
            <pc:docMk/>
            <pc:sldMk cId="3626150123" sldId="4263"/>
            <ac:spMk id="6" creationId="{2BA6AC9F-D16D-43DA-A2DF-DBAD687C4C9C}"/>
          </ac:spMkLst>
        </pc:spChg>
        <pc:spChg chg="mod">
          <ac:chgData name="Raether, Jerry" userId="14db987c-f35f-4c71-8653-84d365bd3bb9" providerId="ADAL" clId="{90AB4D30-48C4-4682-BFF1-114A65A1ABB8}" dt="2022-05-12T18:33:12.449" v="96" actId="6549"/>
          <ac:spMkLst>
            <pc:docMk/>
            <pc:sldMk cId="3626150123" sldId="4263"/>
            <ac:spMk id="196" creationId="{E08E976B-2F06-4440-A134-E82E1231F5DD}"/>
          </ac:spMkLst>
        </pc:spChg>
        <pc:cxnChg chg="mod">
          <ac:chgData name="Raether, Jerry" userId="14db987c-f35f-4c71-8653-84d365bd3bb9" providerId="ADAL" clId="{90AB4D30-48C4-4682-BFF1-114A65A1ABB8}" dt="2022-06-29T23:23:46.973" v="727" actId="14100"/>
          <ac:cxnSpMkLst>
            <pc:docMk/>
            <pc:sldMk cId="3626150123" sldId="4263"/>
            <ac:cxnSpMk id="38" creationId="{EDD677DB-A66F-4EFA-9CBF-5F77055C9F27}"/>
          </ac:cxnSpMkLst>
        </pc:cxnChg>
        <pc:cxnChg chg="mod">
          <ac:chgData name="Raether, Jerry" userId="14db987c-f35f-4c71-8653-84d365bd3bb9" providerId="ADAL" clId="{90AB4D30-48C4-4682-BFF1-114A65A1ABB8}" dt="2022-06-29T23:23:23.721" v="724" actId="14100"/>
          <ac:cxnSpMkLst>
            <pc:docMk/>
            <pc:sldMk cId="3626150123" sldId="4263"/>
            <ac:cxnSpMk id="47" creationId="{E68599B3-C798-48D1-BC22-402B8B429CE7}"/>
          </ac:cxnSpMkLst>
        </pc:cxnChg>
        <pc:cxnChg chg="mod">
          <ac:chgData name="Raether, Jerry" userId="14db987c-f35f-4c71-8653-84d365bd3bb9" providerId="ADAL" clId="{90AB4D30-48C4-4682-BFF1-114A65A1ABB8}" dt="2022-06-29T23:23:28.553" v="725" actId="14100"/>
          <ac:cxnSpMkLst>
            <pc:docMk/>
            <pc:sldMk cId="3626150123" sldId="4263"/>
            <ac:cxnSpMk id="48" creationId="{9E99BBD1-D900-4934-9577-024DAC5FE6F0}"/>
          </ac:cxnSpMkLst>
        </pc:cxnChg>
        <pc:cxnChg chg="mod">
          <ac:chgData name="Raether, Jerry" userId="14db987c-f35f-4c71-8653-84d365bd3bb9" providerId="ADAL" clId="{90AB4D30-48C4-4682-BFF1-114A65A1ABB8}" dt="2022-05-12T18:31:32.372" v="14" actId="14100"/>
          <ac:cxnSpMkLst>
            <pc:docMk/>
            <pc:sldMk cId="3626150123" sldId="4263"/>
            <ac:cxnSpMk id="51" creationId="{542AFDD7-883D-4138-87F2-7D345AD931DA}"/>
          </ac:cxnSpMkLst>
        </pc:cxnChg>
        <pc:cxnChg chg="mod">
          <ac:chgData name="Raether, Jerry" userId="14db987c-f35f-4c71-8653-84d365bd3bb9" providerId="ADAL" clId="{90AB4D30-48C4-4682-BFF1-114A65A1ABB8}" dt="2022-05-12T18:31:53.975" v="27" actId="14100"/>
          <ac:cxnSpMkLst>
            <pc:docMk/>
            <pc:sldMk cId="3626150123" sldId="4263"/>
            <ac:cxnSpMk id="58" creationId="{0F4811C2-333D-47FB-BADE-B8D959669805}"/>
          </ac:cxnSpMkLst>
        </pc:cxnChg>
        <pc:cxnChg chg="mod">
          <ac:chgData name="Raether, Jerry" userId="14db987c-f35f-4c71-8653-84d365bd3bb9" providerId="ADAL" clId="{90AB4D30-48C4-4682-BFF1-114A65A1ABB8}" dt="2022-05-12T18:32:14.545" v="42" actId="14100"/>
          <ac:cxnSpMkLst>
            <pc:docMk/>
            <pc:sldMk cId="3626150123" sldId="4263"/>
            <ac:cxnSpMk id="83" creationId="{F1E5A77C-1B5C-4497-ABDA-A095AFABF477}"/>
          </ac:cxnSpMkLst>
        </pc:cxnChg>
        <pc:cxnChg chg="mod">
          <ac:chgData name="Raether, Jerry" userId="14db987c-f35f-4c71-8653-84d365bd3bb9" providerId="ADAL" clId="{90AB4D30-48C4-4682-BFF1-114A65A1ABB8}" dt="2022-06-29T23:23:39.503" v="726" actId="14100"/>
          <ac:cxnSpMkLst>
            <pc:docMk/>
            <pc:sldMk cId="3626150123" sldId="4263"/>
            <ac:cxnSpMk id="85" creationId="{5C7F86B7-4359-4C94-9059-EF68332BCF7B}"/>
          </ac:cxnSpMkLst>
        </pc:cxnChg>
        <pc:cxnChg chg="mod">
          <ac:chgData name="Raether, Jerry" userId="14db987c-f35f-4c71-8653-84d365bd3bb9" providerId="ADAL" clId="{90AB4D30-48C4-4682-BFF1-114A65A1ABB8}" dt="2022-05-12T18:32:46.584" v="60" actId="14100"/>
          <ac:cxnSpMkLst>
            <pc:docMk/>
            <pc:sldMk cId="3626150123" sldId="4263"/>
            <ac:cxnSpMk id="86" creationId="{B70BDA47-5780-443C-A023-6BB53ECC939D}"/>
          </ac:cxnSpMkLst>
        </pc:cxnChg>
        <pc:cxnChg chg="mod">
          <ac:chgData name="Raether, Jerry" userId="14db987c-f35f-4c71-8653-84d365bd3bb9" providerId="ADAL" clId="{90AB4D30-48C4-4682-BFF1-114A65A1ABB8}" dt="2022-05-12T18:32:38.371" v="59" actId="14100"/>
          <ac:cxnSpMkLst>
            <pc:docMk/>
            <pc:sldMk cId="3626150123" sldId="4263"/>
            <ac:cxnSpMk id="742" creationId="{CE320F8F-BE22-498C-AC3B-2B60831FC726}"/>
          </ac:cxnSpMkLst>
        </pc:cxnChg>
      </pc:sldChg>
      <pc:sldChg chg="modSp mod">
        <pc:chgData name="Raether, Jerry" userId="14db987c-f35f-4c71-8653-84d365bd3bb9" providerId="ADAL" clId="{90AB4D30-48C4-4682-BFF1-114A65A1ABB8}" dt="2022-05-12T21:37:15.199" v="483" actId="20577"/>
        <pc:sldMkLst>
          <pc:docMk/>
          <pc:sldMk cId="270707387" sldId="4265"/>
        </pc:sldMkLst>
        <pc:spChg chg="mod">
          <ac:chgData name="Raether, Jerry" userId="14db987c-f35f-4c71-8653-84d365bd3bb9" providerId="ADAL" clId="{90AB4D30-48C4-4682-BFF1-114A65A1ABB8}" dt="2022-05-12T21:37:15.199" v="483" actId="20577"/>
          <ac:spMkLst>
            <pc:docMk/>
            <pc:sldMk cId="270707387" sldId="4265"/>
            <ac:spMk id="6" creationId="{76C91FAD-A65A-4B88-A45A-E8D1CF176F33}"/>
          </ac:spMkLst>
        </pc:spChg>
        <pc:graphicFrameChg chg="modGraphic">
          <ac:chgData name="Raether, Jerry" userId="14db987c-f35f-4c71-8653-84d365bd3bb9" providerId="ADAL" clId="{90AB4D30-48C4-4682-BFF1-114A65A1ABB8}" dt="2022-05-12T20:58:52.485" v="347" actId="20577"/>
          <ac:graphicFrameMkLst>
            <pc:docMk/>
            <pc:sldMk cId="270707387" sldId="4265"/>
            <ac:graphicFrameMk id="18" creationId="{B26D893D-B451-4FE3-A72C-C83032CAEA5C}"/>
          </ac:graphicFrameMkLst>
        </pc:graphicFrameChg>
      </pc:sldChg>
      <pc:sldChg chg="modSp mod">
        <pc:chgData name="Raether, Jerry" userId="14db987c-f35f-4c71-8653-84d365bd3bb9" providerId="ADAL" clId="{90AB4D30-48C4-4682-BFF1-114A65A1ABB8}" dt="2022-05-12T18:34:00.310" v="109" actId="2165"/>
        <pc:sldMkLst>
          <pc:docMk/>
          <pc:sldMk cId="2261095948" sldId="4266"/>
        </pc:sldMkLst>
        <pc:graphicFrameChg chg="modGraphic">
          <ac:chgData name="Raether, Jerry" userId="14db987c-f35f-4c71-8653-84d365bd3bb9" providerId="ADAL" clId="{90AB4D30-48C4-4682-BFF1-114A65A1ABB8}" dt="2022-05-12T18:34:00.310" v="109" actId="2165"/>
          <ac:graphicFrameMkLst>
            <pc:docMk/>
            <pc:sldMk cId="2261095948" sldId="4266"/>
            <ac:graphicFrameMk id="8" creationId="{00000000-0000-0000-0000-000000000000}"/>
          </ac:graphicFrameMkLst>
        </pc:graphicFrameChg>
      </pc:sldChg>
      <pc:sldChg chg="modSp">
        <pc:chgData name="Raether, Jerry" userId="14db987c-f35f-4c71-8653-84d365bd3bb9" providerId="ADAL" clId="{90AB4D30-48C4-4682-BFF1-114A65A1ABB8}" dt="2022-05-12T21:37:12.715" v="475"/>
        <pc:sldMkLst>
          <pc:docMk/>
          <pc:sldMk cId="2300956671" sldId="4271"/>
        </pc:sldMkLst>
        <pc:spChg chg="mod">
          <ac:chgData name="Raether, Jerry" userId="14db987c-f35f-4c71-8653-84d365bd3bb9" providerId="ADAL" clId="{90AB4D30-48C4-4682-BFF1-114A65A1ABB8}" dt="2022-05-12T21:37:12.715" v="475"/>
          <ac:spMkLst>
            <pc:docMk/>
            <pc:sldMk cId="2300956671" sldId="4271"/>
            <ac:spMk id="17" creationId="{98C93522-5A81-40A5-834A-7CC7643CB426}"/>
          </ac:spMkLst>
        </pc:spChg>
      </pc:sldChg>
      <pc:sldChg chg="modSp mod modNotesTx">
        <pc:chgData name="Raether, Jerry" userId="14db987c-f35f-4c71-8653-84d365bd3bb9" providerId="ADAL" clId="{90AB4D30-48C4-4682-BFF1-114A65A1ABB8}" dt="2022-05-12T21:01:43.720" v="413" actId="6549"/>
        <pc:sldMkLst>
          <pc:docMk/>
          <pc:sldMk cId="2586647777" sldId="4274"/>
        </pc:sldMkLst>
        <pc:spChg chg="mod">
          <ac:chgData name="Raether, Jerry" userId="14db987c-f35f-4c71-8653-84d365bd3bb9" providerId="ADAL" clId="{90AB4D30-48C4-4682-BFF1-114A65A1ABB8}" dt="2022-05-12T21:01:12.404" v="391"/>
          <ac:spMkLst>
            <pc:docMk/>
            <pc:sldMk cId="2586647777" sldId="4274"/>
            <ac:spMk id="5" creationId="{00000000-0000-0000-0000-000000000000}"/>
          </ac:spMkLst>
        </pc:spChg>
        <pc:spChg chg="mod">
          <ac:chgData name="Raether, Jerry" userId="14db987c-f35f-4c71-8653-84d365bd3bb9" providerId="ADAL" clId="{90AB4D30-48C4-4682-BFF1-114A65A1ABB8}" dt="2022-05-12T21:01:20.561" v="399" actId="20577"/>
          <ac:spMkLst>
            <pc:docMk/>
            <pc:sldMk cId="2586647777" sldId="4274"/>
            <ac:spMk id="34" creationId="{0B1023CE-411D-4A8D-A41E-5DE1CCB62607}"/>
          </ac:spMkLst>
        </pc:spChg>
      </pc:sldChg>
      <pc:sldChg chg="modSp mod modNotesTx">
        <pc:chgData name="Raether, Jerry" userId="14db987c-f35f-4c71-8653-84d365bd3bb9" providerId="ADAL" clId="{90AB4D30-48C4-4682-BFF1-114A65A1ABB8}" dt="2022-05-12T21:02:26.906" v="439" actId="6549"/>
        <pc:sldMkLst>
          <pc:docMk/>
          <pc:sldMk cId="2776648146" sldId="4276"/>
        </pc:sldMkLst>
        <pc:graphicFrameChg chg="modGraphic">
          <ac:chgData name="Raether, Jerry" userId="14db987c-f35f-4c71-8653-84d365bd3bb9" providerId="ADAL" clId="{90AB4D30-48C4-4682-BFF1-114A65A1ABB8}" dt="2022-05-12T21:02:09.729" v="425" actId="20577"/>
          <ac:graphicFrameMkLst>
            <pc:docMk/>
            <pc:sldMk cId="2776648146" sldId="4276"/>
            <ac:graphicFrameMk id="14" creationId="{219AAD19-813D-4C3D-9A80-CB62CAA08099}"/>
          </ac:graphicFrameMkLst>
        </pc:graphicFrameChg>
      </pc:sldChg>
      <pc:sldChg chg="modSp mod">
        <pc:chgData name="Raether, Jerry" userId="14db987c-f35f-4c71-8653-84d365bd3bb9" providerId="ADAL" clId="{90AB4D30-48C4-4682-BFF1-114A65A1ABB8}" dt="2022-05-12T20:51:35.409" v="256" actId="6549"/>
        <pc:sldMkLst>
          <pc:docMk/>
          <pc:sldMk cId="3550731511" sldId="2147374543"/>
        </pc:sldMkLst>
        <pc:spChg chg="mod">
          <ac:chgData name="Raether, Jerry" userId="14db987c-f35f-4c71-8653-84d365bd3bb9" providerId="ADAL" clId="{90AB4D30-48C4-4682-BFF1-114A65A1ABB8}" dt="2022-05-12T20:51:35.409" v="256" actId="6549"/>
          <ac:spMkLst>
            <pc:docMk/>
            <pc:sldMk cId="3550731511" sldId="2147374543"/>
            <ac:spMk id="2" creationId="{5E9386B8-5C25-45BC-84E3-F7F7022D92AD}"/>
          </ac:spMkLst>
        </pc:spChg>
        <pc:graphicFrameChg chg="modGraphic">
          <ac:chgData name="Raether, Jerry" userId="14db987c-f35f-4c71-8653-84d365bd3bb9" providerId="ADAL" clId="{90AB4D30-48C4-4682-BFF1-114A65A1ABB8}" dt="2022-05-12T20:50:44.999" v="242" actId="20577"/>
          <ac:graphicFrameMkLst>
            <pc:docMk/>
            <pc:sldMk cId="3550731511" sldId="2147374543"/>
            <ac:graphicFrameMk id="4" creationId="{73D26D84-F2D4-454F-9CBC-CD99B833945A}"/>
          </ac:graphicFrameMkLst>
        </pc:graphicFrameChg>
      </pc:sldChg>
      <pc:sldChg chg="delSp modSp del mod">
        <pc:chgData name="Raether, Jerry" userId="14db987c-f35f-4c71-8653-84d365bd3bb9" providerId="ADAL" clId="{90AB4D30-48C4-4682-BFF1-114A65A1ABB8}" dt="2022-05-24T16:36:22.806" v="501" actId="47"/>
        <pc:sldMkLst>
          <pc:docMk/>
          <pc:sldMk cId="2732325099" sldId="2147374545"/>
        </pc:sldMkLst>
        <pc:spChg chg="del">
          <ac:chgData name="Raether, Jerry" userId="14db987c-f35f-4c71-8653-84d365bd3bb9" providerId="ADAL" clId="{90AB4D30-48C4-4682-BFF1-114A65A1ABB8}" dt="2022-05-24T16:34:46.156" v="485" actId="478"/>
          <ac:spMkLst>
            <pc:docMk/>
            <pc:sldMk cId="2732325099" sldId="2147374545"/>
            <ac:spMk id="2" creationId="{E13C2BC8-E6C3-43B3-9946-27ECF952ABA9}"/>
          </ac:spMkLst>
        </pc:spChg>
        <pc:graphicFrameChg chg="mod modGraphic">
          <ac:chgData name="Raether, Jerry" userId="14db987c-f35f-4c71-8653-84d365bd3bb9" providerId="ADAL" clId="{90AB4D30-48C4-4682-BFF1-114A65A1ABB8}" dt="2022-05-24T16:34:54.431" v="500" actId="1036"/>
          <ac:graphicFrameMkLst>
            <pc:docMk/>
            <pc:sldMk cId="2732325099" sldId="2147374545"/>
            <ac:graphicFrameMk id="18" creationId="{B26D893D-B451-4FE3-A72C-C83032CAEA5C}"/>
          </ac:graphicFrameMkLst>
        </pc:graphicFrameChg>
        <pc:picChg chg="del">
          <ac:chgData name="Raether, Jerry" userId="14db987c-f35f-4c71-8653-84d365bd3bb9" providerId="ADAL" clId="{90AB4D30-48C4-4682-BFF1-114A65A1ABB8}" dt="2022-05-24T16:34:47.479" v="486" actId="478"/>
          <ac:picMkLst>
            <pc:docMk/>
            <pc:sldMk cId="2732325099" sldId="2147374545"/>
            <ac:picMk id="4" creationId="{15B4BC4B-4865-4A13-8856-7A1B583BB9F4}"/>
          </ac:picMkLst>
        </pc:picChg>
        <pc:picChg chg="del">
          <ac:chgData name="Raether, Jerry" userId="14db987c-f35f-4c71-8653-84d365bd3bb9" providerId="ADAL" clId="{90AB4D30-48C4-4682-BFF1-114A65A1ABB8}" dt="2022-05-24T16:34:46.156" v="485" actId="478"/>
          <ac:picMkLst>
            <pc:docMk/>
            <pc:sldMk cId="2732325099" sldId="2147374545"/>
            <ac:picMk id="26" creationId="{DE6E3659-0561-49CE-A23E-1F02176CCC7D}"/>
          </ac:picMkLst>
        </pc:pic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A2224B0B-B14D-40AC-82DF-F3306E84CD2D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PE" dirty="0">
              <a:latin typeface="PTCRaleway" panose="020B0503030101060003" pitchFamily="34" charset="0"/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F87035F-7A70-47F4-BE9C-22A896CD40FA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970338" y="0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44D8EA7-7DA4-4945-AC0B-1C137F860C15}" type="datetimeFigureOut">
              <a:rPr lang="es-PE" smtClean="0">
                <a:latin typeface="PTCRaleway" panose="020B0503030101060003" pitchFamily="34" charset="0"/>
              </a:rPr>
              <a:t>16/10/2023</a:t>
            </a:fld>
            <a:endParaRPr lang="es-PE" dirty="0">
              <a:latin typeface="PTCRaleway" panose="020B0503030101060003" pitchFamily="34" charset="0"/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411217F-1BC1-4AA5-8B2B-5ECC481CC31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829675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PE" dirty="0">
              <a:latin typeface="PTCRaleway" panose="020B0503030101060003" pitchFamily="34" charset="0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CF08F94-7F82-4A63-917E-74383B6A0A59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970338" y="8829675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276B9F4-9710-4869-B60C-B0B61D2780E4}" type="slidenum">
              <a:rPr lang="es-PE" smtClean="0">
                <a:latin typeface="PTCRaleway" panose="020B0503030101060003" pitchFamily="34" charset="0"/>
              </a:rPr>
              <a:t>‹#›</a:t>
            </a:fld>
            <a:endParaRPr lang="es-PE" dirty="0">
              <a:latin typeface="PTCRaleway" panose="020B05030301010600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0246535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PTCRaleway" panose="020B0503030101060003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338" y="0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PTCRaleway" panose="020B0503030101060003" pitchFamily="34" charset="0"/>
              </a:defRPr>
            </a:lvl1pPr>
          </a:lstStyle>
          <a:p>
            <a:fld id="{AC5DD82D-684E-4FFB-8320-B8CCB1AF24EB}" type="datetimeFigureOut">
              <a:rPr lang="en-US" smtClean="0"/>
              <a:pPr/>
              <a:t>10/16/2023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17550" y="1162050"/>
            <a:ext cx="5575300" cy="31369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675" y="4473575"/>
            <a:ext cx="5607050" cy="366077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675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PTCRaleway" panose="020B0503030101060003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338" y="8829675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PTCRaleway" panose="020B0503030101060003" pitchFamily="34" charset="0"/>
              </a:defRPr>
            </a:lvl1pPr>
          </a:lstStyle>
          <a:p>
            <a:fld id="{D1F37E36-7D7C-4671-B3B8-2BFBF9F6F7F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0164433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PTCRaleway" panose="020B0503030101060003" pitchFamily="34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PTCRaleway" panose="020B0503030101060003" pitchFamily="34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PTCRaleway" panose="020B0503030101060003" pitchFamily="34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PTCRaleway" panose="020B0503030101060003" pitchFamily="34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PTCRaleway" panose="020B0503030101060003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90525" y="677863"/>
            <a:ext cx="6015038" cy="33845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569F304-ADA7-46EF-8A38-C4E5E6F6404B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7548801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7" Type="http://schemas.openxmlformats.org/officeDocument/2006/relationships/image" Target="../media/image13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2.png"/><Relationship Id="rId5" Type="http://schemas.microsoft.com/office/2007/relationships/hdphoto" Target="../media/hdphoto1.wdp"/><Relationship Id="rId4" Type="http://schemas.openxmlformats.org/officeDocument/2006/relationships/image" Target="../media/image11.png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image" Target="../media/image17.emf"/><Relationship Id="rId7" Type="http://schemas.openxmlformats.org/officeDocument/2006/relationships/image" Target="../media/image2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.png"/><Relationship Id="rId5" Type="http://schemas.openxmlformats.org/officeDocument/2006/relationships/image" Target="../media/image19.svg"/><Relationship Id="rId4" Type="http://schemas.openxmlformats.org/officeDocument/2006/relationships/image" Target="../media/image18.png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emf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3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4.bin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8" Type="http://schemas.openxmlformats.org/officeDocument/2006/relationships/hyperlink" Target="https://facebook.com/ptc.inc" TargetMode="External"/><Relationship Id="rId13" Type="http://schemas.openxmlformats.org/officeDocument/2006/relationships/image" Target="../media/image27.png"/><Relationship Id="rId3" Type="http://schemas.openxmlformats.org/officeDocument/2006/relationships/image" Target="../media/image20.png"/><Relationship Id="rId7" Type="http://schemas.openxmlformats.org/officeDocument/2006/relationships/image" Target="../media/image24.emf"/><Relationship Id="rId12" Type="http://schemas.openxmlformats.org/officeDocument/2006/relationships/hyperlink" Target="https://www.linkedin.com/company/ptc/" TargetMode="External"/><Relationship Id="rId17" Type="http://schemas.openxmlformats.org/officeDocument/2006/relationships/image" Target="../media/image30.svg"/><Relationship Id="rId2" Type="http://schemas.openxmlformats.org/officeDocument/2006/relationships/hyperlink" Target="https://www.ptc.com/" TargetMode="External"/><Relationship Id="rId16" Type="http://schemas.openxmlformats.org/officeDocument/2006/relationships/image" Target="../media/image29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23.png"/><Relationship Id="rId11" Type="http://schemas.openxmlformats.org/officeDocument/2006/relationships/image" Target="../media/image26.png"/><Relationship Id="rId5" Type="http://schemas.openxmlformats.org/officeDocument/2006/relationships/image" Target="../media/image22.png"/><Relationship Id="rId15" Type="http://schemas.openxmlformats.org/officeDocument/2006/relationships/image" Target="../media/image28.png"/><Relationship Id="rId10" Type="http://schemas.openxmlformats.org/officeDocument/2006/relationships/hyperlink" Target="https://twitter.com/ptc" TargetMode="External"/><Relationship Id="rId4" Type="http://schemas.openxmlformats.org/officeDocument/2006/relationships/image" Target="../media/image21.svg"/><Relationship Id="rId9" Type="http://schemas.openxmlformats.org/officeDocument/2006/relationships/image" Target="../media/image25.png"/><Relationship Id="rId14" Type="http://schemas.openxmlformats.org/officeDocument/2006/relationships/hyperlink" Target="https://youtube.com/ptc" TargetMode="Externa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emf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2.svg"/><Relationship Id="rId4" Type="http://schemas.openxmlformats.org/officeDocument/2006/relationships/image" Target="../media/image1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 w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37373" y="5059333"/>
            <a:ext cx="4754880" cy="342017"/>
          </a:xfrm>
        </p:spPr>
        <p:txBody>
          <a:bodyPr vert="horz" wrap="square" lIns="0" tIns="9525" rIns="0" bIns="0" rtlCol="0">
            <a:spAutoFit/>
          </a:bodyPr>
          <a:lstStyle>
            <a:lvl1pPr marL="0" indent="0">
              <a:buNone/>
              <a:defRPr lang="en-US" sz="2400" b="1" kern="1200" spc="-4" dirty="0">
                <a:solidFill>
                  <a:schemeClr val="tx1"/>
                </a:solidFill>
                <a:latin typeface="+mj-lt"/>
                <a:ea typeface="+mn-ea"/>
                <a:cs typeface="PTCRaleway ExtraBold"/>
              </a:defRPr>
            </a:lvl1pPr>
          </a:lstStyle>
          <a:p>
            <a:pPr marL="9525" lvl="0">
              <a:spcBef>
                <a:spcPts val="75"/>
              </a:spcBef>
            </a:pPr>
            <a:r>
              <a:rPr lang="en-US"/>
              <a:t>Presenter’s Nam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57383" y="5396933"/>
            <a:ext cx="4572000" cy="22159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lang="en-US" sz="1700" i="1" kern="1200" spc="8" dirty="0">
                <a:solidFill>
                  <a:schemeClr val="tx1"/>
                </a:solidFill>
                <a:latin typeface="+mj-lt"/>
                <a:ea typeface="+mn-ea"/>
                <a:cs typeface="PTCRaleway"/>
              </a:defRPr>
            </a:lvl1pPr>
            <a:lvl2pPr marL="455613" indent="0">
              <a:buNone/>
              <a:defRPr>
                <a:solidFill>
                  <a:schemeClr val="bg1"/>
                </a:solidFill>
              </a:defRPr>
            </a:lvl2pPr>
            <a:lvl3pPr marL="914400" indent="0">
              <a:buNone/>
              <a:defRPr>
                <a:solidFill>
                  <a:schemeClr val="bg1"/>
                </a:solidFill>
              </a:defRPr>
            </a:lvl3pPr>
            <a:lvl4pPr marL="1371600" indent="0">
              <a:buNone/>
              <a:defRPr>
                <a:solidFill>
                  <a:schemeClr val="bg1"/>
                </a:solidFill>
              </a:defRPr>
            </a:lvl4pPr>
            <a:lvl5pPr marL="18288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Presenter’s Titl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483723" y="6399289"/>
            <a:ext cx="3749040" cy="196592"/>
          </a:xfrm>
        </p:spPr>
        <p:txBody>
          <a:bodyPr vert="horz" wrap="square" lIns="0" tIns="9525" rIns="0" bIns="0" rtlCol="0" anchor="ctr" anchorCtr="0">
            <a:spAutoFit/>
          </a:bodyPr>
          <a:lstStyle>
            <a:lvl1pPr marL="0" indent="0">
              <a:buFontTx/>
              <a:buNone/>
              <a:defRPr lang="en-US" sz="1350" spc="8" dirty="0">
                <a:solidFill>
                  <a:schemeClr val="tx2">
                    <a:lumMod val="50000"/>
                  </a:schemeClr>
                </a:solidFill>
                <a:latin typeface="+mj-lt"/>
                <a:cs typeface="PTCRaleway"/>
              </a:defRPr>
            </a:lvl1pPr>
          </a:lstStyle>
          <a:p>
            <a:pPr marL="9525" lvl="0">
              <a:spcBef>
                <a:spcPts val="75"/>
              </a:spcBef>
            </a:pPr>
            <a:r>
              <a:rPr lang="en-US" dirty="0"/>
              <a:t>Add Dat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ltGray">
          <a:xfrm>
            <a:off x="427702" y="2708808"/>
            <a:ext cx="4409826" cy="1065933"/>
          </a:xfrm>
        </p:spPr>
        <p:txBody>
          <a:bodyPr vert="horz" wrap="square" lIns="0" tIns="9525" rIns="0" bIns="0" rtlCol="0" anchor="ctr" anchorCtr="0">
            <a:spAutoFit/>
          </a:bodyPr>
          <a:lstStyle>
            <a:lvl1pPr>
              <a:defRPr lang="en-US" sz="4200" b="1" dirty="0">
                <a:solidFill>
                  <a:schemeClr val="tx1"/>
                </a:solidFill>
              </a:defRPr>
            </a:lvl1pPr>
          </a:lstStyle>
          <a:p>
            <a:pPr marL="9525">
              <a:lnSpc>
                <a:spcPct val="78000"/>
              </a:lnSpc>
              <a:spcBef>
                <a:spcPts val="75"/>
              </a:spcBef>
              <a:tabLst>
                <a:tab pos="2245519" algn="l"/>
              </a:tabLst>
            </a:pPr>
            <a:r>
              <a:rPr lang="en-US" sz="4400" b="1" dirty="0"/>
              <a:t>PRESENTATION TITLE</a:t>
            </a: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686A903A-4982-424F-B3B0-9B8CF40D994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040" y="6017774"/>
            <a:ext cx="2892560" cy="215304"/>
          </a:xfrm>
          <a:prstGeom prst="rect">
            <a:avLst/>
          </a:prstGeom>
        </p:spPr>
      </p:pic>
      <p:grpSp>
        <p:nvGrpSpPr>
          <p:cNvPr id="4" name="Group 3">
            <a:extLst>
              <a:ext uri="{FF2B5EF4-FFF2-40B4-BE49-F238E27FC236}">
                <a16:creationId xmlns:a16="http://schemas.microsoft.com/office/drawing/2014/main" id="{A9112476-DA2C-46A6-9213-5CA80A53F74F}"/>
              </a:ext>
            </a:extLst>
          </p:cNvPr>
          <p:cNvGrpSpPr/>
          <p:nvPr userDrawn="1"/>
        </p:nvGrpSpPr>
        <p:grpSpPr>
          <a:xfrm>
            <a:off x="4974342" y="0"/>
            <a:ext cx="7217659" cy="6867927"/>
            <a:chOff x="4974342" y="0"/>
            <a:chExt cx="7217659" cy="6867927"/>
          </a:xfrm>
          <a:blipFill>
            <a:blip r:embed="rId4"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colorTemperature colorTemp="5900"/>
                      </a14:imgEffect>
                    </a14:imgLayer>
                  </a14:imgProps>
                </a:ext>
              </a:extLst>
            </a:blip>
            <a:stretch>
              <a:fillRect/>
            </a:stretch>
          </a:blipFill>
        </p:grpSpPr>
        <p:sp>
          <p:nvSpPr>
            <p:cNvPr id="15" name="Freeform: Shape 17">
              <a:extLst>
                <a:ext uri="{FF2B5EF4-FFF2-40B4-BE49-F238E27FC236}">
                  <a16:creationId xmlns:a16="http://schemas.microsoft.com/office/drawing/2014/main" id="{03572900-C8B4-4FAF-9AE0-E3560497EC94}"/>
                </a:ext>
              </a:extLst>
            </p:cNvPr>
            <p:cNvSpPr/>
            <p:nvPr/>
          </p:nvSpPr>
          <p:spPr>
            <a:xfrm>
              <a:off x="4974342" y="0"/>
              <a:ext cx="4554128" cy="6139965"/>
            </a:xfrm>
            <a:custGeom>
              <a:avLst/>
              <a:gdLst>
                <a:gd name="connsiteX0" fmla="*/ 1298953 w 4554128"/>
                <a:gd name="connsiteY0" fmla="*/ 0 h 6139965"/>
                <a:gd name="connsiteX1" fmla="*/ 4554128 w 4554128"/>
                <a:gd name="connsiteY1" fmla="*/ 0 h 6139965"/>
                <a:gd name="connsiteX2" fmla="*/ 2231403 w 4554128"/>
                <a:gd name="connsiteY2" fmla="*/ 6139965 h 6139965"/>
                <a:gd name="connsiteX3" fmla="*/ 0 w 4554128"/>
                <a:gd name="connsiteY3" fmla="*/ 3393340 h 6139965"/>
                <a:gd name="connsiteX4" fmla="*/ 1298953 w 4554128"/>
                <a:gd name="connsiteY4" fmla="*/ 0 h 61399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554128" h="6139965">
                  <a:moveTo>
                    <a:pt x="1298953" y="0"/>
                  </a:moveTo>
                  <a:lnTo>
                    <a:pt x="4554128" y="0"/>
                  </a:lnTo>
                  <a:lnTo>
                    <a:pt x="2231403" y="6139965"/>
                  </a:lnTo>
                  <a:lnTo>
                    <a:pt x="0" y="3393340"/>
                  </a:lnTo>
                  <a:lnTo>
                    <a:pt x="1298953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6" name="Freeform: Shape 23">
              <a:extLst>
                <a:ext uri="{FF2B5EF4-FFF2-40B4-BE49-F238E27FC236}">
                  <a16:creationId xmlns:a16="http://schemas.microsoft.com/office/drawing/2014/main" id="{EAC1E2BB-6C9C-4678-9B6B-89CCFC6E6ECD}"/>
                </a:ext>
              </a:extLst>
            </p:cNvPr>
            <p:cNvSpPr/>
            <p:nvPr/>
          </p:nvSpPr>
          <p:spPr>
            <a:xfrm>
              <a:off x="9482470" y="0"/>
              <a:ext cx="2709530" cy="2273732"/>
            </a:xfrm>
            <a:custGeom>
              <a:avLst/>
              <a:gdLst>
                <a:gd name="connsiteX0" fmla="*/ 866270 w 2709530"/>
                <a:gd name="connsiteY0" fmla="*/ 0 h 2273732"/>
                <a:gd name="connsiteX1" fmla="*/ 2709530 w 2709530"/>
                <a:gd name="connsiteY1" fmla="*/ 0 h 2273732"/>
                <a:gd name="connsiteX2" fmla="*/ 2709530 w 2709530"/>
                <a:gd name="connsiteY2" fmla="*/ 1843430 h 2273732"/>
                <a:gd name="connsiteX3" fmla="*/ 0 w 2709530"/>
                <a:gd name="connsiteY3" fmla="*/ 2273732 h 2273732"/>
                <a:gd name="connsiteX4" fmla="*/ 866270 w 2709530"/>
                <a:gd name="connsiteY4" fmla="*/ 0 h 22737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709530" h="2273732">
                  <a:moveTo>
                    <a:pt x="866270" y="0"/>
                  </a:moveTo>
                  <a:lnTo>
                    <a:pt x="2709530" y="0"/>
                  </a:lnTo>
                  <a:lnTo>
                    <a:pt x="2709530" y="1843430"/>
                  </a:lnTo>
                  <a:lnTo>
                    <a:pt x="0" y="2273732"/>
                  </a:lnTo>
                  <a:lnTo>
                    <a:pt x="86627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7" name="Freeform: Shape 31">
              <a:extLst>
                <a:ext uri="{FF2B5EF4-FFF2-40B4-BE49-F238E27FC236}">
                  <a16:creationId xmlns:a16="http://schemas.microsoft.com/office/drawing/2014/main" id="{B7471F1D-1107-442C-8B1E-D54C148C5EB9}"/>
                </a:ext>
              </a:extLst>
            </p:cNvPr>
            <p:cNvSpPr/>
            <p:nvPr/>
          </p:nvSpPr>
          <p:spPr>
            <a:xfrm>
              <a:off x="7809494" y="2296870"/>
              <a:ext cx="4382507" cy="4571057"/>
            </a:xfrm>
            <a:custGeom>
              <a:avLst/>
              <a:gdLst>
                <a:gd name="connsiteX0" fmla="*/ 4382507 w 4382507"/>
                <a:gd name="connsiteY0" fmla="*/ 0 h 4571057"/>
                <a:gd name="connsiteX1" fmla="*/ 4382507 w 4382507"/>
                <a:gd name="connsiteY1" fmla="*/ 2755449 h 4571057"/>
                <a:gd name="connsiteX2" fmla="*/ 3801694 w 4382507"/>
                <a:gd name="connsiteY2" fmla="*/ 2849114 h 4571057"/>
                <a:gd name="connsiteX3" fmla="*/ 3484270 w 4382507"/>
                <a:gd name="connsiteY3" fmla="*/ 3687382 h 4571057"/>
                <a:gd name="connsiteX4" fmla="*/ 4382507 w 4382507"/>
                <a:gd name="connsiteY4" fmla="*/ 3541255 h 4571057"/>
                <a:gd name="connsiteX5" fmla="*/ 4382507 w 4382507"/>
                <a:gd name="connsiteY5" fmla="*/ 4571057 h 4571057"/>
                <a:gd name="connsiteX6" fmla="*/ 304272 w 4382507"/>
                <a:gd name="connsiteY6" fmla="*/ 4571057 h 4571057"/>
                <a:gd name="connsiteX7" fmla="*/ 0 w 4382507"/>
                <a:gd name="connsiteY7" fmla="*/ 4196530 h 4571057"/>
                <a:gd name="connsiteX8" fmla="*/ 1397515 w 4382507"/>
                <a:gd name="connsiteY8" fmla="*/ 474048 h 4571057"/>
                <a:gd name="connsiteX9" fmla="*/ 4382507 w 4382507"/>
                <a:gd name="connsiteY9" fmla="*/ 0 h 457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382507" h="4571057">
                  <a:moveTo>
                    <a:pt x="4382507" y="0"/>
                  </a:moveTo>
                  <a:lnTo>
                    <a:pt x="4382507" y="2755449"/>
                  </a:lnTo>
                  <a:lnTo>
                    <a:pt x="3801694" y="2849114"/>
                  </a:lnTo>
                  <a:lnTo>
                    <a:pt x="3484270" y="3687382"/>
                  </a:lnTo>
                  <a:lnTo>
                    <a:pt x="4382507" y="3541255"/>
                  </a:lnTo>
                  <a:lnTo>
                    <a:pt x="4382507" y="4571057"/>
                  </a:lnTo>
                  <a:lnTo>
                    <a:pt x="304272" y="4571057"/>
                  </a:lnTo>
                  <a:lnTo>
                    <a:pt x="0" y="4196530"/>
                  </a:lnTo>
                  <a:lnTo>
                    <a:pt x="1397515" y="474048"/>
                  </a:lnTo>
                  <a:lnTo>
                    <a:pt x="4382507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n-US">
                <a:solidFill>
                  <a:schemeClr val="bg1"/>
                </a:solidFill>
              </a:endParaRPr>
            </a:p>
          </p:txBody>
        </p:sp>
      </p:grpSp>
      <p:sp>
        <p:nvSpPr>
          <p:cNvPr id="13" name="Freeform: Shape 31">
            <a:extLst>
              <a:ext uri="{FF2B5EF4-FFF2-40B4-BE49-F238E27FC236}">
                <a16:creationId xmlns:a16="http://schemas.microsoft.com/office/drawing/2014/main" id="{2C83A872-CA8B-4D60-A189-DDCE6CF43C9E}"/>
              </a:ext>
            </a:extLst>
          </p:cNvPr>
          <p:cNvSpPr/>
          <p:nvPr userDrawn="1"/>
        </p:nvSpPr>
        <p:spPr>
          <a:xfrm>
            <a:off x="7809493" y="2286943"/>
            <a:ext cx="4382507" cy="4571057"/>
          </a:xfrm>
          <a:custGeom>
            <a:avLst/>
            <a:gdLst>
              <a:gd name="connsiteX0" fmla="*/ 4382507 w 4382507"/>
              <a:gd name="connsiteY0" fmla="*/ 0 h 4571057"/>
              <a:gd name="connsiteX1" fmla="*/ 4382507 w 4382507"/>
              <a:gd name="connsiteY1" fmla="*/ 2755449 h 4571057"/>
              <a:gd name="connsiteX2" fmla="*/ 3801694 w 4382507"/>
              <a:gd name="connsiteY2" fmla="*/ 2849114 h 4571057"/>
              <a:gd name="connsiteX3" fmla="*/ 3484270 w 4382507"/>
              <a:gd name="connsiteY3" fmla="*/ 3687382 h 4571057"/>
              <a:gd name="connsiteX4" fmla="*/ 4382507 w 4382507"/>
              <a:gd name="connsiteY4" fmla="*/ 3541255 h 4571057"/>
              <a:gd name="connsiteX5" fmla="*/ 4382507 w 4382507"/>
              <a:gd name="connsiteY5" fmla="*/ 4571057 h 4571057"/>
              <a:gd name="connsiteX6" fmla="*/ 304272 w 4382507"/>
              <a:gd name="connsiteY6" fmla="*/ 4571057 h 4571057"/>
              <a:gd name="connsiteX7" fmla="*/ 0 w 4382507"/>
              <a:gd name="connsiteY7" fmla="*/ 4196530 h 4571057"/>
              <a:gd name="connsiteX8" fmla="*/ 1397515 w 4382507"/>
              <a:gd name="connsiteY8" fmla="*/ 474048 h 4571057"/>
              <a:gd name="connsiteX9" fmla="*/ 4382507 w 4382507"/>
              <a:gd name="connsiteY9" fmla="*/ 0 h 45710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4382507" h="4571057">
                <a:moveTo>
                  <a:pt x="4382507" y="0"/>
                </a:moveTo>
                <a:lnTo>
                  <a:pt x="4382507" y="2755449"/>
                </a:lnTo>
                <a:lnTo>
                  <a:pt x="3801694" y="2849114"/>
                </a:lnTo>
                <a:lnTo>
                  <a:pt x="3484270" y="3687382"/>
                </a:lnTo>
                <a:lnTo>
                  <a:pt x="4382507" y="3541255"/>
                </a:lnTo>
                <a:lnTo>
                  <a:pt x="4382507" y="4571057"/>
                </a:lnTo>
                <a:lnTo>
                  <a:pt x="304272" y="4571057"/>
                </a:lnTo>
                <a:lnTo>
                  <a:pt x="0" y="4196530"/>
                </a:lnTo>
                <a:lnTo>
                  <a:pt x="1397515" y="474048"/>
                </a:lnTo>
                <a:lnTo>
                  <a:pt x="4382507" y="0"/>
                </a:lnTo>
                <a:close/>
              </a:path>
            </a:pathLst>
          </a:custGeom>
          <a:solidFill>
            <a:schemeClr val="bg2">
              <a:alpha val="9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bg1"/>
              </a:solidFill>
            </a:endParaRPr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9DFEF7AB-D202-411C-88E8-EE2C07650B0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-29184" y="116399"/>
            <a:ext cx="3968766" cy="16093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4297651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or Graphic &amp;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4">
            <a:extLst>
              <a:ext uri="{FF2B5EF4-FFF2-40B4-BE49-F238E27FC236}">
                <a16:creationId xmlns:a16="http://schemas.microsoft.com/office/drawing/2014/main" id="{F6F2220D-D049-431F-AE4C-66F06B49D14E}"/>
              </a:ext>
            </a:extLst>
          </p:cNvPr>
          <p:cNvGrpSpPr/>
          <p:nvPr userDrawn="1"/>
        </p:nvGrpSpPr>
        <p:grpSpPr>
          <a:xfrm>
            <a:off x="567709" y="1509331"/>
            <a:ext cx="3558618" cy="4711129"/>
            <a:chOff x="567709" y="1528150"/>
            <a:chExt cx="3558618" cy="4692310"/>
          </a:xfrm>
        </p:grpSpPr>
        <p:sp>
          <p:nvSpPr>
            <p:cNvPr id="48" name="Rectangle 47">
              <a:extLst>
                <a:ext uri="{FF2B5EF4-FFF2-40B4-BE49-F238E27FC236}">
                  <a16:creationId xmlns:a16="http://schemas.microsoft.com/office/drawing/2014/main" id="{9DD92F5C-AA83-4505-B194-3EB6A01DC91C}"/>
                </a:ext>
              </a:extLst>
            </p:cNvPr>
            <p:cNvSpPr/>
            <p:nvPr userDrawn="1"/>
          </p:nvSpPr>
          <p:spPr>
            <a:xfrm>
              <a:off x="567709" y="1637881"/>
              <a:ext cx="3558618" cy="4582579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s-PE">
                <a:solidFill>
                  <a:schemeClr val="bg1"/>
                </a:solidFill>
              </a:endParaRPr>
            </a:p>
          </p:txBody>
        </p:sp>
        <p:sp>
          <p:nvSpPr>
            <p:cNvPr id="4" name="Arrow: Pentagon 3">
              <a:extLst>
                <a:ext uri="{FF2B5EF4-FFF2-40B4-BE49-F238E27FC236}">
                  <a16:creationId xmlns:a16="http://schemas.microsoft.com/office/drawing/2014/main" id="{AD96E9CE-0E6C-4361-B959-D892AE199199}"/>
                </a:ext>
              </a:extLst>
            </p:cNvPr>
            <p:cNvSpPr/>
            <p:nvPr userDrawn="1"/>
          </p:nvSpPr>
          <p:spPr>
            <a:xfrm>
              <a:off x="567710" y="1528150"/>
              <a:ext cx="1235088" cy="223284"/>
            </a:xfrm>
            <a:prstGeom prst="homePlat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s-PE">
                <a:solidFill>
                  <a:schemeClr val="bg1"/>
                </a:solidFill>
              </a:endParaRPr>
            </a:p>
          </p:txBody>
        </p:sp>
      </p:grpSp>
      <p:grpSp>
        <p:nvGrpSpPr>
          <p:cNvPr id="50" name="Group 49">
            <a:extLst>
              <a:ext uri="{FF2B5EF4-FFF2-40B4-BE49-F238E27FC236}">
                <a16:creationId xmlns:a16="http://schemas.microsoft.com/office/drawing/2014/main" id="{49522EDF-6B64-40DC-AF8F-1193DB30E268}"/>
              </a:ext>
            </a:extLst>
          </p:cNvPr>
          <p:cNvGrpSpPr/>
          <p:nvPr userDrawn="1"/>
        </p:nvGrpSpPr>
        <p:grpSpPr>
          <a:xfrm>
            <a:off x="3331998" y="1775504"/>
            <a:ext cx="631597" cy="594534"/>
            <a:chOff x="3331998" y="1775504"/>
            <a:chExt cx="631597" cy="594534"/>
          </a:xfrm>
        </p:grpSpPr>
        <p:sp>
          <p:nvSpPr>
            <p:cNvPr id="51" name="Freeform: Shape 50">
              <a:extLst>
                <a:ext uri="{FF2B5EF4-FFF2-40B4-BE49-F238E27FC236}">
                  <a16:creationId xmlns:a16="http://schemas.microsoft.com/office/drawing/2014/main" id="{446C2A21-3B85-4654-B356-193FF4A73DE5}"/>
                </a:ext>
              </a:extLst>
            </p:cNvPr>
            <p:cNvSpPr/>
            <p:nvPr userDrawn="1"/>
          </p:nvSpPr>
          <p:spPr>
            <a:xfrm flipH="1" flipV="1">
              <a:off x="3331998" y="1775507"/>
              <a:ext cx="236532" cy="243939"/>
            </a:xfrm>
            <a:custGeom>
              <a:avLst/>
              <a:gdLst>
                <a:gd name="connsiteX0" fmla="*/ 184242 w 236532"/>
                <a:gd name="connsiteY0" fmla="*/ 243939 h 243939"/>
                <a:gd name="connsiteX1" fmla="*/ 0 w 236532"/>
                <a:gd name="connsiteY1" fmla="*/ 243939 h 243939"/>
                <a:gd name="connsiteX2" fmla="*/ 236532 w 236532"/>
                <a:gd name="connsiteY2" fmla="*/ 0 h 243939"/>
                <a:gd name="connsiteX3" fmla="*/ 236532 w 236532"/>
                <a:gd name="connsiteY3" fmla="*/ 189945 h 243939"/>
                <a:gd name="connsiteX4" fmla="*/ 184242 w 236532"/>
                <a:gd name="connsiteY4" fmla="*/ 243939 h 2439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6532" h="243939">
                  <a:moveTo>
                    <a:pt x="184242" y="243939"/>
                  </a:moveTo>
                  <a:lnTo>
                    <a:pt x="0" y="243939"/>
                  </a:lnTo>
                  <a:lnTo>
                    <a:pt x="236532" y="0"/>
                  </a:lnTo>
                  <a:lnTo>
                    <a:pt x="236532" y="189945"/>
                  </a:lnTo>
                  <a:lnTo>
                    <a:pt x="184242" y="243939"/>
                  </a:ln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en-US"/>
            </a:p>
          </p:txBody>
        </p:sp>
        <p:sp>
          <p:nvSpPr>
            <p:cNvPr id="52" name="Freeform: Shape 51">
              <a:extLst>
                <a:ext uri="{FF2B5EF4-FFF2-40B4-BE49-F238E27FC236}">
                  <a16:creationId xmlns:a16="http://schemas.microsoft.com/office/drawing/2014/main" id="{BF504655-6790-490E-BA0D-242ED3E5FA88}"/>
                </a:ext>
              </a:extLst>
            </p:cNvPr>
            <p:cNvSpPr/>
            <p:nvPr userDrawn="1"/>
          </p:nvSpPr>
          <p:spPr>
            <a:xfrm flipH="1" flipV="1">
              <a:off x="3723772" y="2122077"/>
              <a:ext cx="239823" cy="247961"/>
            </a:xfrm>
            <a:custGeom>
              <a:avLst/>
              <a:gdLst>
                <a:gd name="connsiteX0" fmla="*/ 0 w 239823"/>
                <a:gd name="connsiteY0" fmla="*/ 247961 h 247961"/>
                <a:gd name="connsiteX1" fmla="*/ 0 w 239823"/>
                <a:gd name="connsiteY1" fmla="*/ 57467 h 247961"/>
                <a:gd name="connsiteX2" fmla="*/ 55581 w 239823"/>
                <a:gd name="connsiteY2" fmla="*/ 0 h 247961"/>
                <a:gd name="connsiteX3" fmla="*/ 239823 w 239823"/>
                <a:gd name="connsiteY3" fmla="*/ 0 h 247961"/>
                <a:gd name="connsiteX4" fmla="*/ 0 w 239823"/>
                <a:gd name="connsiteY4" fmla="*/ 247961 h 2479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9823" h="247961">
                  <a:moveTo>
                    <a:pt x="0" y="247961"/>
                  </a:moveTo>
                  <a:lnTo>
                    <a:pt x="0" y="57467"/>
                  </a:lnTo>
                  <a:lnTo>
                    <a:pt x="55581" y="0"/>
                  </a:lnTo>
                  <a:lnTo>
                    <a:pt x="239823" y="0"/>
                  </a:lnTo>
                  <a:lnTo>
                    <a:pt x="0" y="247961"/>
                  </a:ln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en-US"/>
            </a:p>
          </p:txBody>
        </p:sp>
        <p:sp>
          <p:nvSpPr>
            <p:cNvPr id="53" name="Freeform: Shape 52">
              <a:extLst>
                <a:ext uri="{FF2B5EF4-FFF2-40B4-BE49-F238E27FC236}">
                  <a16:creationId xmlns:a16="http://schemas.microsoft.com/office/drawing/2014/main" id="{6E483918-9EBB-4FAD-A165-6274601D3246}"/>
                </a:ext>
              </a:extLst>
            </p:cNvPr>
            <p:cNvSpPr/>
            <p:nvPr userDrawn="1"/>
          </p:nvSpPr>
          <p:spPr>
            <a:xfrm>
              <a:off x="3340161" y="1775504"/>
              <a:ext cx="516651" cy="536140"/>
            </a:xfrm>
            <a:custGeom>
              <a:avLst/>
              <a:gdLst>
                <a:gd name="connsiteX0" fmla="*/ 332409 w 516651"/>
                <a:gd name="connsiteY0" fmla="*/ 0 h 536140"/>
                <a:gd name="connsiteX1" fmla="*/ 516651 w 516651"/>
                <a:gd name="connsiteY1" fmla="*/ 0 h 536140"/>
                <a:gd name="connsiteX2" fmla="*/ 0 w 516651"/>
                <a:gd name="connsiteY2" fmla="*/ 536140 h 536140"/>
                <a:gd name="connsiteX3" fmla="*/ 0 w 516651"/>
                <a:gd name="connsiteY3" fmla="*/ 344300 h 536140"/>
                <a:gd name="connsiteX4" fmla="*/ 332409 w 516651"/>
                <a:gd name="connsiteY4" fmla="*/ 0 h 5361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16651" h="536140">
                  <a:moveTo>
                    <a:pt x="332409" y="0"/>
                  </a:moveTo>
                  <a:lnTo>
                    <a:pt x="516651" y="0"/>
                  </a:lnTo>
                  <a:lnTo>
                    <a:pt x="0" y="536140"/>
                  </a:lnTo>
                  <a:lnTo>
                    <a:pt x="0" y="344300"/>
                  </a:lnTo>
                  <a:lnTo>
                    <a:pt x="332409" y="0"/>
                  </a:ln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lvl="0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54" name="Freeform: Shape 53">
              <a:extLst>
                <a:ext uri="{FF2B5EF4-FFF2-40B4-BE49-F238E27FC236}">
                  <a16:creationId xmlns:a16="http://schemas.microsoft.com/office/drawing/2014/main" id="{47A04C62-89DA-486D-AA08-D9D25B318A53}"/>
                </a:ext>
              </a:extLst>
            </p:cNvPr>
            <p:cNvSpPr/>
            <p:nvPr userDrawn="1"/>
          </p:nvSpPr>
          <p:spPr>
            <a:xfrm>
              <a:off x="3402110" y="1793022"/>
              <a:ext cx="556042" cy="577015"/>
            </a:xfrm>
            <a:custGeom>
              <a:avLst/>
              <a:gdLst>
                <a:gd name="connsiteX0" fmla="*/ 556042 w 556042"/>
                <a:gd name="connsiteY0" fmla="*/ 0 h 577015"/>
                <a:gd name="connsiteX1" fmla="*/ 556042 w 556042"/>
                <a:gd name="connsiteY1" fmla="*/ 191192 h 577015"/>
                <a:gd name="connsiteX2" fmla="*/ 184244 w 556042"/>
                <a:gd name="connsiteY2" fmla="*/ 577015 h 577015"/>
                <a:gd name="connsiteX3" fmla="*/ 0 w 556042"/>
                <a:gd name="connsiteY3" fmla="*/ 577015 h 577015"/>
                <a:gd name="connsiteX4" fmla="*/ 556042 w 556042"/>
                <a:gd name="connsiteY4" fmla="*/ 0 h 577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6042" h="577015">
                  <a:moveTo>
                    <a:pt x="556042" y="0"/>
                  </a:moveTo>
                  <a:lnTo>
                    <a:pt x="556042" y="191192"/>
                  </a:lnTo>
                  <a:lnTo>
                    <a:pt x="184244" y="577015"/>
                  </a:lnTo>
                  <a:lnTo>
                    <a:pt x="0" y="577015"/>
                  </a:lnTo>
                  <a:lnTo>
                    <a:pt x="556042" y="0"/>
                  </a:ln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285750" indent="-285750" algn="l">
                <a:lnSpc>
                  <a:spcPct val="90000"/>
                </a:lnSpc>
                <a:spcBef>
                  <a:spcPts val="800"/>
                </a:spcBef>
                <a:buBlip>
                  <a:blip r:embed="rId2"/>
                </a:buBlip>
              </a:pPr>
              <a:endParaRPr lang="en-US" sz="1800" dirty="0" err="1">
                <a:solidFill>
                  <a:schemeClr val="bg1"/>
                </a:solidFill>
              </a:endParaRPr>
            </a:p>
          </p:txBody>
        </p:sp>
      </p:grpSp>
      <p:sp>
        <p:nvSpPr>
          <p:cNvPr id="3" name="Rectangle 2">
            <a:extLst>
              <a:ext uri="{FF2B5EF4-FFF2-40B4-BE49-F238E27FC236}">
                <a16:creationId xmlns:a16="http://schemas.microsoft.com/office/drawing/2014/main" id="{7EBF904B-CA77-4E86-A6A3-73D2F703B031}"/>
              </a:ext>
            </a:extLst>
          </p:cNvPr>
          <p:cNvSpPr/>
          <p:nvPr userDrawn="1"/>
        </p:nvSpPr>
        <p:spPr>
          <a:xfrm>
            <a:off x="0" y="1509331"/>
            <a:ext cx="511478" cy="471112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s-PE">
              <a:solidFill>
                <a:schemeClr val="bg1"/>
              </a:solidFill>
            </a:endParaRPr>
          </a:p>
        </p:txBody>
      </p:sp>
      <p:pic>
        <p:nvPicPr>
          <p:cNvPr id="56" name="Picture 55">
            <a:extLst>
              <a:ext uri="{FF2B5EF4-FFF2-40B4-BE49-F238E27FC236}">
                <a16:creationId xmlns:a16="http://schemas.microsoft.com/office/drawing/2014/main" id="{398F40EF-3684-48DD-8AD8-A4F0503C5CB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5332" r="41262"/>
          <a:stretch/>
        </p:blipFill>
        <p:spPr>
          <a:xfrm rot="10800000">
            <a:off x="3479920" y="2982554"/>
            <a:ext cx="499802" cy="3101889"/>
          </a:xfrm>
          <a:prstGeom prst="rect">
            <a:avLst/>
          </a:prstGeom>
        </p:spPr>
      </p:pic>
      <p:pic>
        <p:nvPicPr>
          <p:cNvPr id="82" name="Graphic 81">
            <a:extLst>
              <a:ext uri="{FF2B5EF4-FFF2-40B4-BE49-F238E27FC236}">
                <a16:creationId xmlns:a16="http://schemas.microsoft.com/office/drawing/2014/main" id="{D97F8D3A-F5B1-4A3A-9B14-E82F2CDEABE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 r="52919"/>
          <a:stretch/>
        </p:blipFill>
        <p:spPr>
          <a:xfrm>
            <a:off x="11030374" y="2887980"/>
            <a:ext cx="1161626" cy="2270760"/>
          </a:xfrm>
          <a:prstGeom prst="rect">
            <a:avLst/>
          </a:prstGeom>
        </p:spPr>
      </p:pic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82D39170-48C3-4960-8251-B18662DAF534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4573905" y="1648460"/>
            <a:ext cx="7096125" cy="4572000"/>
          </a:xfrm>
          <a:solidFill>
            <a:schemeClr val="bg1">
              <a:lumMod val="95000"/>
            </a:schemeClr>
          </a:solidFill>
          <a:ln w="9525">
            <a:gradFill>
              <a:gsLst>
                <a:gs pos="100000">
                  <a:schemeClr val="bg2"/>
                </a:gs>
                <a:gs pos="0">
                  <a:schemeClr val="tx1"/>
                </a:gs>
              </a:gsLst>
              <a:lin ang="27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tIns="1645920"/>
          <a:lstStyle>
            <a:lvl1pPr marL="0" indent="0" algn="ctr">
              <a:buFontTx/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Insert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6E69CCC-D78C-4592-9155-75F363BF709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DFBEEA6F-668D-442E-A0D4-9939E1D82CB5}"/>
              </a:ext>
            </a:extLst>
          </p:cNvPr>
          <p:cNvSpPr/>
          <p:nvPr userDrawn="1"/>
        </p:nvSpPr>
        <p:spPr>
          <a:xfrm>
            <a:off x="4573905" y="1465962"/>
            <a:ext cx="5252910" cy="24257"/>
          </a:xfrm>
          <a:custGeom>
            <a:avLst/>
            <a:gdLst>
              <a:gd name="connsiteX0" fmla="*/ 5252910 w 5252910"/>
              <a:gd name="connsiteY0" fmla="*/ 24257 h 24257"/>
              <a:gd name="connsiteX1" fmla="*/ 4848860 w 5252910"/>
              <a:gd name="connsiteY1" fmla="*/ 24257 h 24257"/>
              <a:gd name="connsiteX2" fmla="*/ 4848860 w 5252910"/>
              <a:gd name="connsiteY2" fmla="*/ 0 h 24257"/>
              <a:gd name="connsiteX3" fmla="*/ 5252910 w 5252910"/>
              <a:gd name="connsiteY3" fmla="*/ 0 h 24257"/>
              <a:gd name="connsiteX4" fmla="*/ 5252910 w 5252910"/>
              <a:gd name="connsiteY4" fmla="*/ 24257 h 24257"/>
              <a:gd name="connsiteX5" fmla="*/ 4444746 w 5252910"/>
              <a:gd name="connsiteY5" fmla="*/ 24257 h 24257"/>
              <a:gd name="connsiteX6" fmla="*/ 4040696 w 5252910"/>
              <a:gd name="connsiteY6" fmla="*/ 24257 h 24257"/>
              <a:gd name="connsiteX7" fmla="*/ 4040696 w 5252910"/>
              <a:gd name="connsiteY7" fmla="*/ 0 h 24257"/>
              <a:gd name="connsiteX8" fmla="*/ 4444746 w 5252910"/>
              <a:gd name="connsiteY8" fmla="*/ 0 h 24257"/>
              <a:gd name="connsiteX9" fmla="*/ 4444746 w 5252910"/>
              <a:gd name="connsiteY9" fmla="*/ 24257 h 24257"/>
              <a:gd name="connsiteX10" fmla="*/ 3636645 w 5252910"/>
              <a:gd name="connsiteY10" fmla="*/ 24257 h 24257"/>
              <a:gd name="connsiteX11" fmla="*/ 3232594 w 5252910"/>
              <a:gd name="connsiteY11" fmla="*/ 24257 h 24257"/>
              <a:gd name="connsiteX12" fmla="*/ 3232594 w 5252910"/>
              <a:gd name="connsiteY12" fmla="*/ 0 h 24257"/>
              <a:gd name="connsiteX13" fmla="*/ 3636645 w 5252910"/>
              <a:gd name="connsiteY13" fmla="*/ 0 h 24257"/>
              <a:gd name="connsiteX14" fmla="*/ 3636645 w 5252910"/>
              <a:gd name="connsiteY14" fmla="*/ 24257 h 24257"/>
              <a:gd name="connsiteX15" fmla="*/ 2828481 w 5252910"/>
              <a:gd name="connsiteY15" fmla="*/ 24257 h 24257"/>
              <a:gd name="connsiteX16" fmla="*/ 2424430 w 5252910"/>
              <a:gd name="connsiteY16" fmla="*/ 24257 h 24257"/>
              <a:gd name="connsiteX17" fmla="*/ 2424430 w 5252910"/>
              <a:gd name="connsiteY17" fmla="*/ 0 h 24257"/>
              <a:gd name="connsiteX18" fmla="*/ 2828481 w 5252910"/>
              <a:gd name="connsiteY18" fmla="*/ 0 h 24257"/>
              <a:gd name="connsiteX19" fmla="*/ 2828481 w 5252910"/>
              <a:gd name="connsiteY19" fmla="*/ 24257 h 24257"/>
              <a:gd name="connsiteX20" fmla="*/ 2020316 w 5252910"/>
              <a:gd name="connsiteY20" fmla="*/ 24257 h 24257"/>
              <a:gd name="connsiteX21" fmla="*/ 1616266 w 5252910"/>
              <a:gd name="connsiteY21" fmla="*/ 24257 h 24257"/>
              <a:gd name="connsiteX22" fmla="*/ 1616266 w 5252910"/>
              <a:gd name="connsiteY22" fmla="*/ 0 h 24257"/>
              <a:gd name="connsiteX23" fmla="*/ 2020316 w 5252910"/>
              <a:gd name="connsiteY23" fmla="*/ 0 h 24257"/>
              <a:gd name="connsiteX24" fmla="*/ 2020316 w 5252910"/>
              <a:gd name="connsiteY24" fmla="*/ 24257 h 24257"/>
              <a:gd name="connsiteX25" fmla="*/ 1212215 w 5252910"/>
              <a:gd name="connsiteY25" fmla="*/ 24257 h 24257"/>
              <a:gd name="connsiteX26" fmla="*/ 808164 w 5252910"/>
              <a:gd name="connsiteY26" fmla="*/ 24257 h 24257"/>
              <a:gd name="connsiteX27" fmla="*/ 808164 w 5252910"/>
              <a:gd name="connsiteY27" fmla="*/ 0 h 24257"/>
              <a:gd name="connsiteX28" fmla="*/ 1212215 w 5252910"/>
              <a:gd name="connsiteY28" fmla="*/ 0 h 24257"/>
              <a:gd name="connsiteX29" fmla="*/ 1212215 w 5252910"/>
              <a:gd name="connsiteY29" fmla="*/ 24257 h 24257"/>
              <a:gd name="connsiteX30" fmla="*/ 404051 w 5252910"/>
              <a:gd name="connsiteY30" fmla="*/ 24257 h 24257"/>
              <a:gd name="connsiteX31" fmla="*/ 0 w 5252910"/>
              <a:gd name="connsiteY31" fmla="*/ 24257 h 24257"/>
              <a:gd name="connsiteX32" fmla="*/ 0 w 5252910"/>
              <a:gd name="connsiteY32" fmla="*/ 0 h 24257"/>
              <a:gd name="connsiteX33" fmla="*/ 404051 w 5252910"/>
              <a:gd name="connsiteY33" fmla="*/ 0 h 24257"/>
              <a:gd name="connsiteX34" fmla="*/ 404051 w 5252910"/>
              <a:gd name="connsiteY34" fmla="*/ 24257 h 242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</a:cxnLst>
            <a:rect l="l" t="t" r="r" b="b"/>
            <a:pathLst>
              <a:path w="5252910" h="24257">
                <a:moveTo>
                  <a:pt x="5252910" y="24257"/>
                </a:moveTo>
                <a:lnTo>
                  <a:pt x="4848860" y="24257"/>
                </a:lnTo>
                <a:lnTo>
                  <a:pt x="4848860" y="0"/>
                </a:lnTo>
                <a:lnTo>
                  <a:pt x="5252910" y="0"/>
                </a:lnTo>
                <a:lnTo>
                  <a:pt x="5252910" y="24257"/>
                </a:lnTo>
                <a:close/>
                <a:moveTo>
                  <a:pt x="4444746" y="24257"/>
                </a:moveTo>
                <a:lnTo>
                  <a:pt x="4040696" y="24257"/>
                </a:lnTo>
                <a:lnTo>
                  <a:pt x="4040696" y="0"/>
                </a:lnTo>
                <a:lnTo>
                  <a:pt x="4444746" y="0"/>
                </a:lnTo>
                <a:lnTo>
                  <a:pt x="4444746" y="24257"/>
                </a:lnTo>
                <a:close/>
                <a:moveTo>
                  <a:pt x="3636645" y="24257"/>
                </a:moveTo>
                <a:lnTo>
                  <a:pt x="3232594" y="24257"/>
                </a:lnTo>
                <a:lnTo>
                  <a:pt x="3232594" y="0"/>
                </a:lnTo>
                <a:lnTo>
                  <a:pt x="3636645" y="0"/>
                </a:lnTo>
                <a:lnTo>
                  <a:pt x="3636645" y="24257"/>
                </a:lnTo>
                <a:close/>
                <a:moveTo>
                  <a:pt x="2828481" y="24257"/>
                </a:moveTo>
                <a:lnTo>
                  <a:pt x="2424430" y="24257"/>
                </a:lnTo>
                <a:lnTo>
                  <a:pt x="2424430" y="0"/>
                </a:lnTo>
                <a:lnTo>
                  <a:pt x="2828481" y="0"/>
                </a:lnTo>
                <a:lnTo>
                  <a:pt x="2828481" y="24257"/>
                </a:lnTo>
                <a:close/>
                <a:moveTo>
                  <a:pt x="2020316" y="24257"/>
                </a:moveTo>
                <a:lnTo>
                  <a:pt x="1616266" y="24257"/>
                </a:lnTo>
                <a:lnTo>
                  <a:pt x="1616266" y="0"/>
                </a:lnTo>
                <a:lnTo>
                  <a:pt x="2020316" y="0"/>
                </a:lnTo>
                <a:lnTo>
                  <a:pt x="2020316" y="24257"/>
                </a:lnTo>
                <a:close/>
                <a:moveTo>
                  <a:pt x="1212215" y="24257"/>
                </a:moveTo>
                <a:lnTo>
                  <a:pt x="808164" y="24257"/>
                </a:lnTo>
                <a:lnTo>
                  <a:pt x="808164" y="0"/>
                </a:lnTo>
                <a:lnTo>
                  <a:pt x="1212215" y="0"/>
                </a:lnTo>
                <a:lnTo>
                  <a:pt x="1212215" y="24257"/>
                </a:lnTo>
                <a:close/>
                <a:moveTo>
                  <a:pt x="404051" y="24257"/>
                </a:moveTo>
                <a:lnTo>
                  <a:pt x="0" y="24257"/>
                </a:lnTo>
                <a:lnTo>
                  <a:pt x="0" y="0"/>
                </a:lnTo>
                <a:lnTo>
                  <a:pt x="404051" y="0"/>
                </a:lnTo>
                <a:lnTo>
                  <a:pt x="404051" y="24257"/>
                </a:lnTo>
                <a:close/>
              </a:path>
            </a:pathLst>
          </a:custGeom>
          <a:solidFill>
            <a:srgbClr val="6FBE4A"/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rgbClr val="3D4647"/>
              </a:solidFill>
              <a:effectLst/>
              <a:uLnTx/>
              <a:uFillTx/>
              <a:latin typeface="PTCRaleway" panose="020B0503030101060003" pitchFamily="34" charset="0"/>
              <a:ea typeface="+mn-ea"/>
              <a:cs typeface="+mn-cs"/>
            </a:endParaRPr>
          </a:p>
        </p:txBody>
      </p:sp>
      <p:grpSp>
        <p:nvGrpSpPr>
          <p:cNvPr id="17" name="Graphic 42">
            <a:extLst>
              <a:ext uri="{FF2B5EF4-FFF2-40B4-BE49-F238E27FC236}">
                <a16:creationId xmlns:a16="http://schemas.microsoft.com/office/drawing/2014/main" id="{4462BEFA-F6BE-408A-8CBD-DDC5B03EF6CF}"/>
              </a:ext>
            </a:extLst>
          </p:cNvPr>
          <p:cNvGrpSpPr/>
          <p:nvPr userDrawn="1"/>
        </p:nvGrpSpPr>
        <p:grpSpPr>
          <a:xfrm>
            <a:off x="5040122" y="1453579"/>
            <a:ext cx="4312158" cy="55752"/>
            <a:chOff x="1962277" y="6465887"/>
            <a:chExt cx="4312158" cy="55752"/>
          </a:xfrm>
          <a:solidFill>
            <a:srgbClr val="B3B3B3"/>
          </a:solidFill>
        </p:grpSpPr>
        <p:grpSp>
          <p:nvGrpSpPr>
            <p:cNvPr id="18" name="Graphic 42">
              <a:extLst>
                <a:ext uri="{FF2B5EF4-FFF2-40B4-BE49-F238E27FC236}">
                  <a16:creationId xmlns:a16="http://schemas.microsoft.com/office/drawing/2014/main" id="{6C414D36-83CA-494E-90F0-B5BB4912F8F4}"/>
                </a:ext>
              </a:extLst>
            </p:cNvPr>
            <p:cNvGrpSpPr/>
            <p:nvPr/>
          </p:nvGrpSpPr>
          <p:grpSpPr>
            <a:xfrm>
              <a:off x="1962277" y="6465887"/>
              <a:ext cx="275081" cy="55752"/>
              <a:chOff x="1962277" y="6465887"/>
              <a:chExt cx="275081" cy="55752"/>
            </a:xfrm>
            <a:solidFill>
              <a:srgbClr val="B3B3B3"/>
            </a:solidFill>
          </p:grpSpPr>
          <p:sp>
            <p:nvSpPr>
              <p:cNvPr id="44" name="Freeform: Shape 43">
                <a:extLst>
                  <a:ext uri="{FF2B5EF4-FFF2-40B4-BE49-F238E27FC236}">
                    <a16:creationId xmlns:a16="http://schemas.microsoft.com/office/drawing/2014/main" id="{F12D98FB-8347-49AC-981B-0836C07DF466}"/>
                  </a:ext>
                </a:extLst>
              </p:cNvPr>
              <p:cNvSpPr/>
              <p:nvPr/>
            </p:nvSpPr>
            <p:spPr>
              <a:xfrm>
                <a:off x="2229294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4 w 8064"/>
                  <a:gd name="connsiteY1" fmla="*/ 0 h 55752"/>
                  <a:gd name="connsiteX2" fmla="*/ 8064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4" y="0"/>
                    </a:lnTo>
                    <a:lnTo>
                      <a:pt x="8064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45" name="Freeform: Shape 44">
                <a:extLst>
                  <a:ext uri="{FF2B5EF4-FFF2-40B4-BE49-F238E27FC236}">
                    <a16:creationId xmlns:a16="http://schemas.microsoft.com/office/drawing/2014/main" id="{25515A06-384F-4412-B81B-CC4CC0CA36F9}"/>
                  </a:ext>
                </a:extLst>
              </p:cNvPr>
              <p:cNvSpPr/>
              <p:nvPr/>
            </p:nvSpPr>
            <p:spPr>
              <a:xfrm>
                <a:off x="2133092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46" name="Freeform: Shape 45">
                <a:extLst>
                  <a:ext uri="{FF2B5EF4-FFF2-40B4-BE49-F238E27FC236}">
                    <a16:creationId xmlns:a16="http://schemas.microsoft.com/office/drawing/2014/main" id="{FD3D9B1C-CA80-4F23-B321-AF615A9E00C6}"/>
                  </a:ext>
                </a:extLst>
              </p:cNvPr>
              <p:cNvSpPr/>
              <p:nvPr/>
            </p:nvSpPr>
            <p:spPr>
              <a:xfrm>
                <a:off x="2049526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4 w 8064"/>
                  <a:gd name="connsiteY1" fmla="*/ 0 h 55752"/>
                  <a:gd name="connsiteX2" fmla="*/ 8064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4" y="0"/>
                    </a:lnTo>
                    <a:lnTo>
                      <a:pt x="8064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47" name="Freeform: Shape 46">
                <a:extLst>
                  <a:ext uri="{FF2B5EF4-FFF2-40B4-BE49-F238E27FC236}">
                    <a16:creationId xmlns:a16="http://schemas.microsoft.com/office/drawing/2014/main" id="{A61D8D8A-1848-4FF2-A8B9-EAA9E4FA6C9A}"/>
                  </a:ext>
                </a:extLst>
              </p:cNvPr>
              <p:cNvSpPr/>
              <p:nvPr/>
            </p:nvSpPr>
            <p:spPr>
              <a:xfrm>
                <a:off x="1962277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4 w 8064"/>
                  <a:gd name="connsiteY1" fmla="*/ 0 h 55752"/>
                  <a:gd name="connsiteX2" fmla="*/ 8064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4" y="0"/>
                    </a:lnTo>
                    <a:lnTo>
                      <a:pt x="8064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</p:grpSp>
        <p:grpSp>
          <p:nvGrpSpPr>
            <p:cNvPr id="19" name="Graphic 42">
              <a:extLst>
                <a:ext uri="{FF2B5EF4-FFF2-40B4-BE49-F238E27FC236}">
                  <a16:creationId xmlns:a16="http://schemas.microsoft.com/office/drawing/2014/main" id="{C8188640-B60E-4D12-8195-2CC09242B9F0}"/>
                </a:ext>
              </a:extLst>
            </p:cNvPr>
            <p:cNvGrpSpPr/>
            <p:nvPr/>
          </p:nvGrpSpPr>
          <p:grpSpPr>
            <a:xfrm>
              <a:off x="2767584" y="6465887"/>
              <a:ext cx="275081" cy="55752"/>
              <a:chOff x="2767584" y="6465887"/>
              <a:chExt cx="275081" cy="55752"/>
            </a:xfrm>
            <a:solidFill>
              <a:srgbClr val="B3B3B3"/>
            </a:solidFill>
          </p:grpSpPr>
          <p:sp>
            <p:nvSpPr>
              <p:cNvPr id="40" name="Freeform: Shape 39">
                <a:extLst>
                  <a:ext uri="{FF2B5EF4-FFF2-40B4-BE49-F238E27FC236}">
                    <a16:creationId xmlns:a16="http://schemas.microsoft.com/office/drawing/2014/main" id="{3AED701D-F446-4BF2-B9AB-AD1DE14D2221}"/>
                  </a:ext>
                </a:extLst>
              </p:cNvPr>
              <p:cNvSpPr/>
              <p:nvPr/>
            </p:nvSpPr>
            <p:spPr>
              <a:xfrm>
                <a:off x="3034601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41" name="Freeform: Shape 40">
                <a:extLst>
                  <a:ext uri="{FF2B5EF4-FFF2-40B4-BE49-F238E27FC236}">
                    <a16:creationId xmlns:a16="http://schemas.microsoft.com/office/drawing/2014/main" id="{B786866A-0184-4A50-A38D-04AD7C97E460}"/>
                  </a:ext>
                </a:extLst>
              </p:cNvPr>
              <p:cNvSpPr/>
              <p:nvPr/>
            </p:nvSpPr>
            <p:spPr>
              <a:xfrm>
                <a:off x="2938399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4 w 8064"/>
                  <a:gd name="connsiteY1" fmla="*/ 0 h 55752"/>
                  <a:gd name="connsiteX2" fmla="*/ 8064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4" y="0"/>
                    </a:lnTo>
                    <a:lnTo>
                      <a:pt x="8064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42" name="Freeform: Shape 41">
                <a:extLst>
                  <a:ext uri="{FF2B5EF4-FFF2-40B4-BE49-F238E27FC236}">
                    <a16:creationId xmlns:a16="http://schemas.microsoft.com/office/drawing/2014/main" id="{22873B01-F29B-447F-8CA9-90773F021047}"/>
                  </a:ext>
                </a:extLst>
              </p:cNvPr>
              <p:cNvSpPr/>
              <p:nvPr/>
            </p:nvSpPr>
            <p:spPr>
              <a:xfrm>
                <a:off x="2854833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4 w 8064"/>
                  <a:gd name="connsiteY1" fmla="*/ 0 h 55752"/>
                  <a:gd name="connsiteX2" fmla="*/ 8064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4" y="0"/>
                    </a:lnTo>
                    <a:lnTo>
                      <a:pt x="8064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43" name="Freeform: Shape 42">
                <a:extLst>
                  <a:ext uri="{FF2B5EF4-FFF2-40B4-BE49-F238E27FC236}">
                    <a16:creationId xmlns:a16="http://schemas.microsoft.com/office/drawing/2014/main" id="{39C3C78D-917D-49A6-9DA1-0AAD733B0081}"/>
                  </a:ext>
                </a:extLst>
              </p:cNvPr>
              <p:cNvSpPr/>
              <p:nvPr/>
            </p:nvSpPr>
            <p:spPr>
              <a:xfrm>
                <a:off x="2767584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4 w 8064"/>
                  <a:gd name="connsiteY1" fmla="*/ 0 h 55752"/>
                  <a:gd name="connsiteX2" fmla="*/ 8064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4" y="0"/>
                    </a:lnTo>
                    <a:lnTo>
                      <a:pt x="8064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</p:grpSp>
        <p:grpSp>
          <p:nvGrpSpPr>
            <p:cNvPr id="20" name="Graphic 42">
              <a:extLst>
                <a:ext uri="{FF2B5EF4-FFF2-40B4-BE49-F238E27FC236}">
                  <a16:creationId xmlns:a16="http://schemas.microsoft.com/office/drawing/2014/main" id="{0B318879-5799-428C-8F50-C87E1AAE34F9}"/>
                </a:ext>
              </a:extLst>
            </p:cNvPr>
            <p:cNvGrpSpPr/>
            <p:nvPr/>
          </p:nvGrpSpPr>
          <p:grpSpPr>
            <a:xfrm>
              <a:off x="3592067" y="6465887"/>
              <a:ext cx="275082" cy="55752"/>
              <a:chOff x="3592067" y="6465887"/>
              <a:chExt cx="275082" cy="55752"/>
            </a:xfrm>
            <a:solidFill>
              <a:srgbClr val="B3B3B3"/>
            </a:solidFill>
          </p:grpSpPr>
          <p:sp>
            <p:nvSpPr>
              <p:cNvPr id="36" name="Freeform: Shape 35">
                <a:extLst>
                  <a:ext uri="{FF2B5EF4-FFF2-40B4-BE49-F238E27FC236}">
                    <a16:creationId xmlns:a16="http://schemas.microsoft.com/office/drawing/2014/main" id="{12315CF7-1D26-45D3-8980-950C19FCA779}"/>
                  </a:ext>
                </a:extLst>
              </p:cNvPr>
              <p:cNvSpPr/>
              <p:nvPr/>
            </p:nvSpPr>
            <p:spPr>
              <a:xfrm>
                <a:off x="3859085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7" name="Freeform: Shape 36">
                <a:extLst>
                  <a:ext uri="{FF2B5EF4-FFF2-40B4-BE49-F238E27FC236}">
                    <a16:creationId xmlns:a16="http://schemas.microsoft.com/office/drawing/2014/main" id="{75582EA7-D6B9-4B06-81FC-45EFF0D7FA1D}"/>
                  </a:ext>
                </a:extLst>
              </p:cNvPr>
              <p:cNvSpPr/>
              <p:nvPr/>
            </p:nvSpPr>
            <p:spPr>
              <a:xfrm>
                <a:off x="3762883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8" name="Freeform: Shape 37">
                <a:extLst>
                  <a:ext uri="{FF2B5EF4-FFF2-40B4-BE49-F238E27FC236}">
                    <a16:creationId xmlns:a16="http://schemas.microsoft.com/office/drawing/2014/main" id="{4B32FF40-DA0D-43AF-9E1F-7F90B039619E}"/>
                  </a:ext>
                </a:extLst>
              </p:cNvPr>
              <p:cNvSpPr/>
              <p:nvPr/>
            </p:nvSpPr>
            <p:spPr>
              <a:xfrm>
                <a:off x="3679316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9" name="Freeform: Shape 38">
                <a:extLst>
                  <a:ext uri="{FF2B5EF4-FFF2-40B4-BE49-F238E27FC236}">
                    <a16:creationId xmlns:a16="http://schemas.microsoft.com/office/drawing/2014/main" id="{65F385E7-62A0-4424-AA68-EC3AC5D492B0}"/>
                  </a:ext>
                </a:extLst>
              </p:cNvPr>
              <p:cNvSpPr/>
              <p:nvPr/>
            </p:nvSpPr>
            <p:spPr>
              <a:xfrm>
                <a:off x="3592067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</p:grpSp>
        <p:grpSp>
          <p:nvGrpSpPr>
            <p:cNvPr id="21" name="Graphic 42">
              <a:extLst>
                <a:ext uri="{FF2B5EF4-FFF2-40B4-BE49-F238E27FC236}">
                  <a16:creationId xmlns:a16="http://schemas.microsoft.com/office/drawing/2014/main" id="{3423C752-5534-4E66-A865-C988809C1E01}"/>
                </a:ext>
              </a:extLst>
            </p:cNvPr>
            <p:cNvGrpSpPr/>
            <p:nvPr/>
          </p:nvGrpSpPr>
          <p:grpSpPr>
            <a:xfrm>
              <a:off x="4397375" y="6465887"/>
              <a:ext cx="275081" cy="55752"/>
              <a:chOff x="4397375" y="6465887"/>
              <a:chExt cx="275081" cy="55752"/>
            </a:xfrm>
            <a:solidFill>
              <a:srgbClr val="B3B3B3"/>
            </a:solidFill>
          </p:grpSpPr>
          <p:sp>
            <p:nvSpPr>
              <p:cNvPr id="32" name="Freeform: Shape 31">
                <a:extLst>
                  <a:ext uri="{FF2B5EF4-FFF2-40B4-BE49-F238E27FC236}">
                    <a16:creationId xmlns:a16="http://schemas.microsoft.com/office/drawing/2014/main" id="{F6ADF341-7B9D-4DD8-9CA6-565A61A1D9F0}"/>
                  </a:ext>
                </a:extLst>
              </p:cNvPr>
              <p:cNvSpPr/>
              <p:nvPr/>
            </p:nvSpPr>
            <p:spPr>
              <a:xfrm>
                <a:off x="4664392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3" name="Freeform: Shape 32">
                <a:extLst>
                  <a:ext uri="{FF2B5EF4-FFF2-40B4-BE49-F238E27FC236}">
                    <a16:creationId xmlns:a16="http://schemas.microsoft.com/office/drawing/2014/main" id="{3583D26D-856C-4A77-AE0D-3BA42CE1E584}"/>
                  </a:ext>
                </a:extLst>
              </p:cNvPr>
              <p:cNvSpPr/>
              <p:nvPr/>
            </p:nvSpPr>
            <p:spPr>
              <a:xfrm>
                <a:off x="4568190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4" name="Freeform: Shape 33">
                <a:extLst>
                  <a:ext uri="{FF2B5EF4-FFF2-40B4-BE49-F238E27FC236}">
                    <a16:creationId xmlns:a16="http://schemas.microsoft.com/office/drawing/2014/main" id="{3AEFB025-6C70-433A-A300-828C72698CA9}"/>
                  </a:ext>
                </a:extLst>
              </p:cNvPr>
              <p:cNvSpPr/>
              <p:nvPr/>
            </p:nvSpPr>
            <p:spPr>
              <a:xfrm>
                <a:off x="4484624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5" name="Freeform: Shape 34">
                <a:extLst>
                  <a:ext uri="{FF2B5EF4-FFF2-40B4-BE49-F238E27FC236}">
                    <a16:creationId xmlns:a16="http://schemas.microsoft.com/office/drawing/2014/main" id="{B1D62E97-9E08-4764-8431-00935A47F3A0}"/>
                  </a:ext>
                </a:extLst>
              </p:cNvPr>
              <p:cNvSpPr/>
              <p:nvPr/>
            </p:nvSpPr>
            <p:spPr>
              <a:xfrm>
                <a:off x="4397375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</p:grpSp>
        <p:grpSp>
          <p:nvGrpSpPr>
            <p:cNvPr id="22" name="Graphic 42">
              <a:extLst>
                <a:ext uri="{FF2B5EF4-FFF2-40B4-BE49-F238E27FC236}">
                  <a16:creationId xmlns:a16="http://schemas.microsoft.com/office/drawing/2014/main" id="{B5A71B70-4F7E-4F2D-B1E9-AA29844C693D}"/>
                </a:ext>
              </a:extLst>
            </p:cNvPr>
            <p:cNvGrpSpPr/>
            <p:nvPr/>
          </p:nvGrpSpPr>
          <p:grpSpPr>
            <a:xfrm>
              <a:off x="5193982" y="6465887"/>
              <a:ext cx="275081" cy="55752"/>
              <a:chOff x="5193982" y="6465887"/>
              <a:chExt cx="275081" cy="55752"/>
            </a:xfrm>
            <a:solidFill>
              <a:srgbClr val="B3B3B3"/>
            </a:solidFill>
          </p:grpSpPr>
          <p:sp>
            <p:nvSpPr>
              <p:cNvPr id="28" name="Freeform: Shape 27">
                <a:extLst>
                  <a:ext uri="{FF2B5EF4-FFF2-40B4-BE49-F238E27FC236}">
                    <a16:creationId xmlns:a16="http://schemas.microsoft.com/office/drawing/2014/main" id="{5C4D2D9B-3546-4854-9EF0-91DA8B5D343A}"/>
                  </a:ext>
                </a:extLst>
              </p:cNvPr>
              <p:cNvSpPr/>
              <p:nvPr/>
            </p:nvSpPr>
            <p:spPr>
              <a:xfrm>
                <a:off x="5461000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9" name="Freeform: Shape 28">
                <a:extLst>
                  <a:ext uri="{FF2B5EF4-FFF2-40B4-BE49-F238E27FC236}">
                    <a16:creationId xmlns:a16="http://schemas.microsoft.com/office/drawing/2014/main" id="{CACC2168-473F-4DD8-9CCA-AC07604162E4}"/>
                  </a:ext>
                </a:extLst>
              </p:cNvPr>
              <p:cNvSpPr/>
              <p:nvPr/>
            </p:nvSpPr>
            <p:spPr>
              <a:xfrm>
                <a:off x="5364861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0" name="Freeform: Shape 29">
                <a:extLst>
                  <a:ext uri="{FF2B5EF4-FFF2-40B4-BE49-F238E27FC236}">
                    <a16:creationId xmlns:a16="http://schemas.microsoft.com/office/drawing/2014/main" id="{C0676C98-9672-4F1C-B76D-533DC9DC61E9}"/>
                  </a:ext>
                </a:extLst>
              </p:cNvPr>
              <p:cNvSpPr/>
              <p:nvPr/>
            </p:nvSpPr>
            <p:spPr>
              <a:xfrm>
                <a:off x="5281231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1" name="Freeform: Shape 30">
                <a:extLst>
                  <a:ext uri="{FF2B5EF4-FFF2-40B4-BE49-F238E27FC236}">
                    <a16:creationId xmlns:a16="http://schemas.microsoft.com/office/drawing/2014/main" id="{967CC653-46C7-4F44-8FF4-0AABDEBC12E7}"/>
                  </a:ext>
                </a:extLst>
              </p:cNvPr>
              <p:cNvSpPr/>
              <p:nvPr/>
            </p:nvSpPr>
            <p:spPr>
              <a:xfrm>
                <a:off x="5193982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</p:grpSp>
        <p:grpSp>
          <p:nvGrpSpPr>
            <p:cNvPr id="23" name="Graphic 42">
              <a:extLst>
                <a:ext uri="{FF2B5EF4-FFF2-40B4-BE49-F238E27FC236}">
                  <a16:creationId xmlns:a16="http://schemas.microsoft.com/office/drawing/2014/main" id="{2A1F82DF-03D9-444E-8317-8BEACA4F8E1E}"/>
                </a:ext>
              </a:extLst>
            </p:cNvPr>
            <p:cNvGrpSpPr/>
            <p:nvPr/>
          </p:nvGrpSpPr>
          <p:grpSpPr>
            <a:xfrm>
              <a:off x="5999289" y="6465887"/>
              <a:ext cx="275145" cy="55752"/>
              <a:chOff x="5999289" y="6465887"/>
              <a:chExt cx="275145" cy="55752"/>
            </a:xfrm>
            <a:solidFill>
              <a:srgbClr val="B3B3B3"/>
            </a:solidFill>
          </p:grpSpPr>
          <p:sp>
            <p:nvSpPr>
              <p:cNvPr id="24" name="Freeform: Shape 23">
                <a:extLst>
                  <a:ext uri="{FF2B5EF4-FFF2-40B4-BE49-F238E27FC236}">
                    <a16:creationId xmlns:a16="http://schemas.microsoft.com/office/drawing/2014/main" id="{491F24D6-8119-44C1-93F2-E5109D171FA2}"/>
                  </a:ext>
                </a:extLst>
              </p:cNvPr>
              <p:cNvSpPr/>
              <p:nvPr/>
            </p:nvSpPr>
            <p:spPr>
              <a:xfrm>
                <a:off x="6266370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5" name="Freeform: Shape 24">
                <a:extLst>
                  <a:ext uri="{FF2B5EF4-FFF2-40B4-BE49-F238E27FC236}">
                    <a16:creationId xmlns:a16="http://schemas.microsoft.com/office/drawing/2014/main" id="{C81EC1E3-3540-4BE0-AD5A-51BA24740C03}"/>
                  </a:ext>
                </a:extLst>
              </p:cNvPr>
              <p:cNvSpPr/>
              <p:nvPr/>
            </p:nvSpPr>
            <p:spPr>
              <a:xfrm>
                <a:off x="6170168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6" name="Freeform: Shape 25">
                <a:extLst>
                  <a:ext uri="{FF2B5EF4-FFF2-40B4-BE49-F238E27FC236}">
                    <a16:creationId xmlns:a16="http://schemas.microsoft.com/office/drawing/2014/main" id="{E8EFC42F-F751-4EA6-8C7C-816A8DE27840}"/>
                  </a:ext>
                </a:extLst>
              </p:cNvPr>
              <p:cNvSpPr/>
              <p:nvPr/>
            </p:nvSpPr>
            <p:spPr>
              <a:xfrm>
                <a:off x="6086538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7" name="Freeform: Shape 26">
                <a:extLst>
                  <a:ext uri="{FF2B5EF4-FFF2-40B4-BE49-F238E27FC236}">
                    <a16:creationId xmlns:a16="http://schemas.microsoft.com/office/drawing/2014/main" id="{27C191A6-C627-4504-AFFA-3E1CD488F910}"/>
                  </a:ext>
                </a:extLst>
              </p:cNvPr>
              <p:cNvSpPr/>
              <p:nvPr/>
            </p:nvSpPr>
            <p:spPr>
              <a:xfrm>
                <a:off x="5999289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</p:grpSp>
      </p:grpSp>
      <p:sp>
        <p:nvSpPr>
          <p:cNvPr id="92" name="Freeform: Shape 91">
            <a:extLst>
              <a:ext uri="{FF2B5EF4-FFF2-40B4-BE49-F238E27FC236}">
                <a16:creationId xmlns:a16="http://schemas.microsoft.com/office/drawing/2014/main" id="{95075E11-C95B-43F7-AE58-F819F4432F94}"/>
              </a:ext>
            </a:extLst>
          </p:cNvPr>
          <p:cNvSpPr/>
          <p:nvPr userDrawn="1"/>
        </p:nvSpPr>
        <p:spPr>
          <a:xfrm>
            <a:off x="4558698" y="6297424"/>
            <a:ext cx="99631" cy="161861"/>
          </a:xfrm>
          <a:custGeom>
            <a:avLst/>
            <a:gdLst>
              <a:gd name="connsiteX0" fmla="*/ 0 w 99631"/>
              <a:gd name="connsiteY0" fmla="*/ 0 h 161861"/>
              <a:gd name="connsiteX1" fmla="*/ 47942 w 99631"/>
              <a:gd name="connsiteY1" fmla="*/ 0 h 161861"/>
              <a:gd name="connsiteX2" fmla="*/ 99631 w 99631"/>
              <a:gd name="connsiteY2" fmla="*/ 80962 h 161861"/>
              <a:gd name="connsiteX3" fmla="*/ 47942 w 99631"/>
              <a:gd name="connsiteY3" fmla="*/ 161862 h 161861"/>
              <a:gd name="connsiteX4" fmla="*/ 0 w 99631"/>
              <a:gd name="connsiteY4" fmla="*/ 161862 h 161861"/>
              <a:gd name="connsiteX5" fmla="*/ 51626 w 99631"/>
              <a:gd name="connsiteY5" fmla="*/ 80962 h 161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9631" h="161861">
                <a:moveTo>
                  <a:pt x="0" y="0"/>
                </a:moveTo>
                <a:lnTo>
                  <a:pt x="47942" y="0"/>
                </a:lnTo>
                <a:lnTo>
                  <a:pt x="99631" y="80962"/>
                </a:lnTo>
                <a:lnTo>
                  <a:pt x="47942" y="161862"/>
                </a:lnTo>
                <a:lnTo>
                  <a:pt x="0" y="161862"/>
                </a:lnTo>
                <a:lnTo>
                  <a:pt x="51626" y="80962"/>
                </a:lnTo>
                <a:close/>
              </a:path>
            </a:pathLst>
          </a:custGeom>
          <a:solidFill>
            <a:schemeClr val="bg2">
              <a:alpha val="23000"/>
            </a:schemeClr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rgbClr val="3D4647"/>
              </a:solidFill>
              <a:effectLst/>
              <a:uLnTx/>
              <a:uFillTx/>
              <a:latin typeface="PTCRaleway" panose="020B0503030101060003" pitchFamily="34" charset="0"/>
              <a:ea typeface="+mn-ea"/>
              <a:cs typeface="+mn-cs"/>
            </a:endParaRPr>
          </a:p>
        </p:txBody>
      </p:sp>
      <p:sp>
        <p:nvSpPr>
          <p:cNvPr id="93" name="Freeform: Shape 92">
            <a:extLst>
              <a:ext uri="{FF2B5EF4-FFF2-40B4-BE49-F238E27FC236}">
                <a16:creationId xmlns:a16="http://schemas.microsoft.com/office/drawing/2014/main" id="{E7C06D70-7E3E-4D15-B6B1-EAF35FBF771C}"/>
              </a:ext>
            </a:extLst>
          </p:cNvPr>
          <p:cNvSpPr/>
          <p:nvPr userDrawn="1"/>
        </p:nvSpPr>
        <p:spPr>
          <a:xfrm>
            <a:off x="4628548" y="6297424"/>
            <a:ext cx="99567" cy="161861"/>
          </a:xfrm>
          <a:custGeom>
            <a:avLst/>
            <a:gdLst>
              <a:gd name="connsiteX0" fmla="*/ 0 w 99567"/>
              <a:gd name="connsiteY0" fmla="*/ 0 h 161861"/>
              <a:gd name="connsiteX1" fmla="*/ 47942 w 99567"/>
              <a:gd name="connsiteY1" fmla="*/ 0 h 161861"/>
              <a:gd name="connsiteX2" fmla="*/ 99568 w 99567"/>
              <a:gd name="connsiteY2" fmla="*/ 80962 h 161861"/>
              <a:gd name="connsiteX3" fmla="*/ 47942 w 99567"/>
              <a:gd name="connsiteY3" fmla="*/ 161862 h 161861"/>
              <a:gd name="connsiteX4" fmla="*/ 0 w 99567"/>
              <a:gd name="connsiteY4" fmla="*/ 161862 h 161861"/>
              <a:gd name="connsiteX5" fmla="*/ 51626 w 99567"/>
              <a:gd name="connsiteY5" fmla="*/ 80962 h 161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9567" h="161861">
                <a:moveTo>
                  <a:pt x="0" y="0"/>
                </a:moveTo>
                <a:lnTo>
                  <a:pt x="47942" y="0"/>
                </a:lnTo>
                <a:lnTo>
                  <a:pt x="99568" y="80962"/>
                </a:lnTo>
                <a:lnTo>
                  <a:pt x="47942" y="161862"/>
                </a:lnTo>
                <a:lnTo>
                  <a:pt x="0" y="161862"/>
                </a:lnTo>
                <a:lnTo>
                  <a:pt x="51626" y="80962"/>
                </a:lnTo>
                <a:close/>
              </a:path>
            </a:pathLst>
          </a:custGeom>
          <a:solidFill>
            <a:schemeClr val="bg2">
              <a:alpha val="23000"/>
            </a:schemeClr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rgbClr val="3D4647"/>
              </a:solidFill>
              <a:effectLst/>
              <a:uLnTx/>
              <a:uFillTx/>
              <a:latin typeface="PTCRaleway" panose="020B0503030101060003" pitchFamily="34" charset="0"/>
              <a:ea typeface="+mn-ea"/>
              <a:cs typeface="+mn-cs"/>
            </a:endParaRPr>
          </a:p>
        </p:txBody>
      </p:sp>
      <p:sp>
        <p:nvSpPr>
          <p:cNvPr id="94" name="Freeform: Shape 93">
            <a:extLst>
              <a:ext uri="{FF2B5EF4-FFF2-40B4-BE49-F238E27FC236}">
                <a16:creationId xmlns:a16="http://schemas.microsoft.com/office/drawing/2014/main" id="{2560CFA8-8666-401D-B91D-47D7B7FABCCC}"/>
              </a:ext>
            </a:extLst>
          </p:cNvPr>
          <p:cNvSpPr/>
          <p:nvPr userDrawn="1"/>
        </p:nvSpPr>
        <p:spPr>
          <a:xfrm>
            <a:off x="4697001" y="6297424"/>
            <a:ext cx="99631" cy="161861"/>
          </a:xfrm>
          <a:custGeom>
            <a:avLst/>
            <a:gdLst>
              <a:gd name="connsiteX0" fmla="*/ 0 w 99631"/>
              <a:gd name="connsiteY0" fmla="*/ 0 h 161861"/>
              <a:gd name="connsiteX1" fmla="*/ 48006 w 99631"/>
              <a:gd name="connsiteY1" fmla="*/ 0 h 161861"/>
              <a:gd name="connsiteX2" fmla="*/ 99631 w 99631"/>
              <a:gd name="connsiteY2" fmla="*/ 80962 h 161861"/>
              <a:gd name="connsiteX3" fmla="*/ 48006 w 99631"/>
              <a:gd name="connsiteY3" fmla="*/ 161862 h 161861"/>
              <a:gd name="connsiteX4" fmla="*/ 0 w 99631"/>
              <a:gd name="connsiteY4" fmla="*/ 161862 h 161861"/>
              <a:gd name="connsiteX5" fmla="*/ 51625 w 99631"/>
              <a:gd name="connsiteY5" fmla="*/ 80962 h 161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9631" h="161861">
                <a:moveTo>
                  <a:pt x="0" y="0"/>
                </a:moveTo>
                <a:lnTo>
                  <a:pt x="48006" y="0"/>
                </a:lnTo>
                <a:lnTo>
                  <a:pt x="99631" y="80962"/>
                </a:lnTo>
                <a:lnTo>
                  <a:pt x="48006" y="161862"/>
                </a:lnTo>
                <a:lnTo>
                  <a:pt x="0" y="161862"/>
                </a:lnTo>
                <a:lnTo>
                  <a:pt x="51625" y="80962"/>
                </a:lnTo>
                <a:close/>
              </a:path>
            </a:pathLst>
          </a:custGeom>
          <a:solidFill>
            <a:schemeClr val="bg2">
              <a:alpha val="23000"/>
            </a:schemeClr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rgbClr val="3D4647"/>
              </a:solidFill>
              <a:effectLst/>
              <a:uLnTx/>
              <a:uFillTx/>
              <a:latin typeface="PTCRaleway" panose="020B0503030101060003" pitchFamily="34" charset="0"/>
              <a:ea typeface="+mn-ea"/>
              <a:cs typeface="+mn-cs"/>
            </a:endParaRPr>
          </a:p>
        </p:txBody>
      </p:sp>
      <p:sp>
        <p:nvSpPr>
          <p:cNvPr id="101" name="Text Placeholder 100">
            <a:extLst>
              <a:ext uri="{FF2B5EF4-FFF2-40B4-BE49-F238E27FC236}">
                <a16:creationId xmlns:a16="http://schemas.microsoft.com/office/drawing/2014/main" id="{E68E1B68-9A85-4371-8C00-E6C787C594B2}"/>
              </a:ext>
            </a:extLst>
          </p:cNvPr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762318" y="1872616"/>
            <a:ext cx="3055937" cy="4038600"/>
          </a:xfrm>
        </p:spPr>
        <p:txBody>
          <a:bodyPr vert="horz" lIns="0" tIns="0" rIns="0" bIns="0" rtlCol="0" anchor="ctr" anchorCtr="0">
            <a:noAutofit/>
          </a:bodyPr>
          <a:lstStyle>
            <a:lvl1pPr>
              <a:defRPr lang="en-US" dirty="0" smtClean="0">
                <a:solidFill>
                  <a:schemeClr val="bg1"/>
                </a:solidFill>
              </a:defRPr>
            </a:lvl1pPr>
            <a:lvl2pPr>
              <a:defRPr lang="en-US" dirty="0" smtClean="0">
                <a:solidFill>
                  <a:schemeClr val="bg1"/>
                </a:solidFill>
              </a:defRPr>
            </a:lvl2pPr>
            <a:lvl3pPr marL="832104" indent="-228600">
              <a:buFontTx/>
              <a:buBlip>
                <a:blip r:embed="rId6">
                  <a:extLst>
                    <a:ext uri="{96DAC541-7B7A-43D3-8B79-37D633B846F1}">
                      <asvg:svgBlip xmlns:asvg="http://schemas.microsoft.com/office/drawing/2016/SVG/main" r:embed="rId7"/>
                    </a:ext>
                  </a:extLst>
                </a:blip>
              </a:buBlip>
              <a:defRPr lang="en-US" dirty="0" smtClean="0">
                <a:solidFill>
                  <a:schemeClr val="bg1"/>
                </a:solidFill>
              </a:defRPr>
            </a:lvl3pPr>
            <a:lvl4pPr marL="1078992" indent="-228600">
              <a:buFontTx/>
              <a:buBlip>
                <a:blip r:embed="rId8"/>
              </a:buBlip>
              <a:defRPr lang="en-US" dirty="0">
                <a:solidFill>
                  <a:schemeClr val="bg1"/>
                </a:solidFill>
              </a:defRPr>
            </a:lvl4pPr>
            <a:lvl5pPr marL="1104138" indent="0">
              <a:buNone/>
              <a:defRPr/>
            </a:lvl5pPr>
          </a:lstStyle>
          <a:p>
            <a:pPr lvl="0"/>
            <a:r>
              <a:rPr lang="en-US" dirty="0"/>
              <a:t>Add call out text here</a:t>
            </a:r>
          </a:p>
          <a:p>
            <a:pPr lvl="1"/>
            <a:r>
              <a:rPr lang="en-US" dirty="0"/>
              <a:t>Bullet 2</a:t>
            </a:r>
          </a:p>
          <a:p>
            <a:pPr lvl="2"/>
            <a:r>
              <a:rPr lang="en-US" dirty="0"/>
              <a:t>Bullet 3</a:t>
            </a:r>
          </a:p>
          <a:p>
            <a:pPr lvl="3"/>
            <a:r>
              <a:rPr lang="en-US" dirty="0"/>
              <a:t>Bullet 4</a:t>
            </a:r>
          </a:p>
        </p:txBody>
      </p:sp>
    </p:spTree>
    <p:extLst>
      <p:ext uri="{BB962C8B-B14F-4D97-AF65-F5344CB8AC3E}">
        <p14:creationId xmlns:p14="http://schemas.microsoft.com/office/powerpoint/2010/main" val="13313202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&amp; 1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Picture Placeholder 19">
            <a:extLst>
              <a:ext uri="{FF2B5EF4-FFF2-40B4-BE49-F238E27FC236}">
                <a16:creationId xmlns:a16="http://schemas.microsoft.com/office/drawing/2014/main" id="{8BA33D38-FF79-4659-BC13-5AED39062B0A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1524" y="0"/>
            <a:ext cx="12188952" cy="5208644"/>
          </a:xfrm>
          <a:custGeom>
            <a:avLst/>
            <a:gdLst>
              <a:gd name="connsiteX0" fmla="*/ 0 w 12188952"/>
              <a:gd name="connsiteY0" fmla="*/ 0 h 5195944"/>
              <a:gd name="connsiteX1" fmla="*/ 12188952 w 12188952"/>
              <a:gd name="connsiteY1" fmla="*/ 0 h 5195944"/>
              <a:gd name="connsiteX2" fmla="*/ 12188952 w 12188952"/>
              <a:gd name="connsiteY2" fmla="*/ 5195944 h 5195944"/>
              <a:gd name="connsiteX3" fmla="*/ 2659341 w 12188952"/>
              <a:gd name="connsiteY3" fmla="*/ 5195944 h 5195944"/>
              <a:gd name="connsiteX4" fmla="*/ 2257812 w 12188952"/>
              <a:gd name="connsiteY4" fmla="*/ 4992786 h 5195944"/>
              <a:gd name="connsiteX5" fmla="*/ 0 w 12188952"/>
              <a:gd name="connsiteY5" fmla="*/ 4992786 h 51959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88952" h="5195944">
                <a:moveTo>
                  <a:pt x="0" y="0"/>
                </a:moveTo>
                <a:lnTo>
                  <a:pt x="12188952" y="0"/>
                </a:lnTo>
                <a:lnTo>
                  <a:pt x="12188952" y="5195944"/>
                </a:lnTo>
                <a:lnTo>
                  <a:pt x="2659341" y="5195944"/>
                </a:lnTo>
                <a:lnTo>
                  <a:pt x="2257812" y="4992786"/>
                </a:lnTo>
                <a:lnTo>
                  <a:pt x="0" y="4992786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bIns="640080" anchor="ctr">
            <a:noAutofit/>
          </a:bodyPr>
          <a:lstStyle>
            <a:lvl1pPr marL="0" indent="0" algn="ctr">
              <a:buNone/>
              <a:defRPr sz="1600" b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061473D3-D9B8-4ABB-B46F-2584ADD4252E}"/>
              </a:ext>
            </a:extLst>
          </p:cNvPr>
          <p:cNvSpPr/>
          <p:nvPr userDrawn="1"/>
        </p:nvSpPr>
        <p:spPr>
          <a:xfrm>
            <a:off x="3048" y="4992785"/>
            <a:ext cx="12201129" cy="1778523"/>
          </a:xfrm>
          <a:custGeom>
            <a:avLst/>
            <a:gdLst>
              <a:gd name="connsiteX0" fmla="*/ 0 w 12225528"/>
              <a:gd name="connsiteY0" fmla="*/ 0 h 1742130"/>
              <a:gd name="connsiteX1" fmla="*/ 2261766 w 12225528"/>
              <a:gd name="connsiteY1" fmla="*/ 0 h 1742130"/>
              <a:gd name="connsiteX2" fmla="*/ 2669225 w 12225528"/>
              <a:gd name="connsiteY2" fmla="*/ 201008 h 1742130"/>
              <a:gd name="connsiteX3" fmla="*/ 12193158 w 12225528"/>
              <a:gd name="connsiteY3" fmla="*/ 201008 h 1742130"/>
              <a:gd name="connsiteX4" fmla="*/ 12193158 w 12225528"/>
              <a:gd name="connsiteY4" fmla="*/ 0 h 1742130"/>
              <a:gd name="connsiteX5" fmla="*/ 12225528 w 12225528"/>
              <a:gd name="connsiteY5" fmla="*/ 0 h 1742130"/>
              <a:gd name="connsiteX6" fmla="*/ 12225528 w 12225528"/>
              <a:gd name="connsiteY6" fmla="*/ 1508582 h 1742130"/>
              <a:gd name="connsiteX7" fmla="*/ 9244676 w 12225528"/>
              <a:gd name="connsiteY7" fmla="*/ 1508582 h 1742130"/>
              <a:gd name="connsiteX8" fmla="*/ 8712452 w 12225528"/>
              <a:gd name="connsiteY8" fmla="*/ 1740686 h 1742130"/>
              <a:gd name="connsiteX9" fmla="*/ 8715763 w 12225528"/>
              <a:gd name="connsiteY9" fmla="*/ 1742130 h 1742130"/>
              <a:gd name="connsiteX10" fmla="*/ 0 w 12225528"/>
              <a:gd name="connsiteY10" fmla="*/ 1742130 h 1742130"/>
              <a:gd name="connsiteX0" fmla="*/ 0 w 12225528"/>
              <a:gd name="connsiteY0" fmla="*/ 0 h 1742130"/>
              <a:gd name="connsiteX1" fmla="*/ 2261766 w 12225528"/>
              <a:gd name="connsiteY1" fmla="*/ 0 h 1742130"/>
              <a:gd name="connsiteX2" fmla="*/ 2669225 w 12225528"/>
              <a:gd name="connsiteY2" fmla="*/ 201008 h 1742130"/>
              <a:gd name="connsiteX3" fmla="*/ 12193158 w 12225528"/>
              <a:gd name="connsiteY3" fmla="*/ 201008 h 1742130"/>
              <a:gd name="connsiteX4" fmla="*/ 12193158 w 12225528"/>
              <a:gd name="connsiteY4" fmla="*/ 0 h 1742130"/>
              <a:gd name="connsiteX5" fmla="*/ 12225528 w 12225528"/>
              <a:gd name="connsiteY5" fmla="*/ 1508582 h 1742130"/>
              <a:gd name="connsiteX6" fmla="*/ 9244676 w 12225528"/>
              <a:gd name="connsiteY6" fmla="*/ 1508582 h 1742130"/>
              <a:gd name="connsiteX7" fmla="*/ 8712452 w 12225528"/>
              <a:gd name="connsiteY7" fmla="*/ 1740686 h 1742130"/>
              <a:gd name="connsiteX8" fmla="*/ 8715763 w 12225528"/>
              <a:gd name="connsiteY8" fmla="*/ 1742130 h 1742130"/>
              <a:gd name="connsiteX9" fmla="*/ 0 w 12225528"/>
              <a:gd name="connsiteY9" fmla="*/ 1742130 h 1742130"/>
              <a:gd name="connsiteX10" fmla="*/ 0 w 12225528"/>
              <a:gd name="connsiteY10" fmla="*/ 0 h 1742130"/>
              <a:gd name="connsiteX0" fmla="*/ 0 w 12225528"/>
              <a:gd name="connsiteY0" fmla="*/ 0 h 1742130"/>
              <a:gd name="connsiteX1" fmla="*/ 2261766 w 12225528"/>
              <a:gd name="connsiteY1" fmla="*/ 0 h 1742130"/>
              <a:gd name="connsiteX2" fmla="*/ 2669225 w 12225528"/>
              <a:gd name="connsiteY2" fmla="*/ 201008 h 1742130"/>
              <a:gd name="connsiteX3" fmla="*/ 12193158 w 12225528"/>
              <a:gd name="connsiteY3" fmla="*/ 201008 h 1742130"/>
              <a:gd name="connsiteX4" fmla="*/ 12225528 w 12225528"/>
              <a:gd name="connsiteY4" fmla="*/ 1508582 h 1742130"/>
              <a:gd name="connsiteX5" fmla="*/ 9244676 w 12225528"/>
              <a:gd name="connsiteY5" fmla="*/ 1508582 h 1742130"/>
              <a:gd name="connsiteX6" fmla="*/ 8712452 w 12225528"/>
              <a:gd name="connsiteY6" fmla="*/ 1740686 h 1742130"/>
              <a:gd name="connsiteX7" fmla="*/ 8715763 w 12225528"/>
              <a:gd name="connsiteY7" fmla="*/ 1742130 h 1742130"/>
              <a:gd name="connsiteX8" fmla="*/ 0 w 12225528"/>
              <a:gd name="connsiteY8" fmla="*/ 1742130 h 1742130"/>
              <a:gd name="connsiteX9" fmla="*/ 0 w 12225528"/>
              <a:gd name="connsiteY9" fmla="*/ 0 h 1742130"/>
              <a:gd name="connsiteX0" fmla="*/ 0 w 12244111"/>
              <a:gd name="connsiteY0" fmla="*/ 0 h 1742130"/>
              <a:gd name="connsiteX1" fmla="*/ 2261766 w 12244111"/>
              <a:gd name="connsiteY1" fmla="*/ 0 h 1742130"/>
              <a:gd name="connsiteX2" fmla="*/ 2669225 w 12244111"/>
              <a:gd name="connsiteY2" fmla="*/ 201008 h 1742130"/>
              <a:gd name="connsiteX3" fmla="*/ 12244111 w 12244111"/>
              <a:gd name="connsiteY3" fmla="*/ 207273 h 1742130"/>
              <a:gd name="connsiteX4" fmla="*/ 12225528 w 12244111"/>
              <a:gd name="connsiteY4" fmla="*/ 1508582 h 1742130"/>
              <a:gd name="connsiteX5" fmla="*/ 9244676 w 12244111"/>
              <a:gd name="connsiteY5" fmla="*/ 1508582 h 1742130"/>
              <a:gd name="connsiteX6" fmla="*/ 8712452 w 12244111"/>
              <a:gd name="connsiteY6" fmla="*/ 1740686 h 1742130"/>
              <a:gd name="connsiteX7" fmla="*/ 8715763 w 12244111"/>
              <a:gd name="connsiteY7" fmla="*/ 1742130 h 1742130"/>
              <a:gd name="connsiteX8" fmla="*/ 0 w 12244111"/>
              <a:gd name="connsiteY8" fmla="*/ 1742130 h 1742130"/>
              <a:gd name="connsiteX9" fmla="*/ 0 w 12244111"/>
              <a:gd name="connsiteY9" fmla="*/ 0 h 1742130"/>
              <a:gd name="connsiteX0" fmla="*/ 0 w 12244111"/>
              <a:gd name="connsiteY0" fmla="*/ 0 h 1742130"/>
              <a:gd name="connsiteX1" fmla="*/ 2261766 w 12244111"/>
              <a:gd name="connsiteY1" fmla="*/ 0 h 1742130"/>
              <a:gd name="connsiteX2" fmla="*/ 2669225 w 12244111"/>
              <a:gd name="connsiteY2" fmla="*/ 201008 h 1742130"/>
              <a:gd name="connsiteX3" fmla="*/ 12244111 w 12244111"/>
              <a:gd name="connsiteY3" fmla="*/ 207273 h 1742130"/>
              <a:gd name="connsiteX4" fmla="*/ 12225528 w 12244111"/>
              <a:gd name="connsiteY4" fmla="*/ 1508582 h 1742130"/>
              <a:gd name="connsiteX5" fmla="*/ 9244676 w 12244111"/>
              <a:gd name="connsiteY5" fmla="*/ 1508582 h 1742130"/>
              <a:gd name="connsiteX6" fmla="*/ 8712452 w 12244111"/>
              <a:gd name="connsiteY6" fmla="*/ 1740686 h 1742130"/>
              <a:gd name="connsiteX7" fmla="*/ 8715763 w 12244111"/>
              <a:gd name="connsiteY7" fmla="*/ 1742130 h 1742130"/>
              <a:gd name="connsiteX8" fmla="*/ 0 w 12244111"/>
              <a:gd name="connsiteY8" fmla="*/ 1742130 h 1742130"/>
              <a:gd name="connsiteX9" fmla="*/ 0 w 12244111"/>
              <a:gd name="connsiteY9" fmla="*/ 0 h 1742130"/>
              <a:gd name="connsiteX0" fmla="*/ 0 w 12237742"/>
              <a:gd name="connsiteY0" fmla="*/ 0 h 1742130"/>
              <a:gd name="connsiteX1" fmla="*/ 2261766 w 12237742"/>
              <a:gd name="connsiteY1" fmla="*/ 0 h 1742130"/>
              <a:gd name="connsiteX2" fmla="*/ 2669225 w 12237742"/>
              <a:gd name="connsiteY2" fmla="*/ 201008 h 1742130"/>
              <a:gd name="connsiteX3" fmla="*/ 12237742 w 12237742"/>
              <a:gd name="connsiteY3" fmla="*/ 201008 h 1742130"/>
              <a:gd name="connsiteX4" fmla="*/ 12225528 w 12237742"/>
              <a:gd name="connsiteY4" fmla="*/ 1508582 h 1742130"/>
              <a:gd name="connsiteX5" fmla="*/ 9244676 w 12237742"/>
              <a:gd name="connsiteY5" fmla="*/ 1508582 h 1742130"/>
              <a:gd name="connsiteX6" fmla="*/ 8712452 w 12237742"/>
              <a:gd name="connsiteY6" fmla="*/ 1740686 h 1742130"/>
              <a:gd name="connsiteX7" fmla="*/ 8715763 w 12237742"/>
              <a:gd name="connsiteY7" fmla="*/ 1742130 h 1742130"/>
              <a:gd name="connsiteX8" fmla="*/ 0 w 12237742"/>
              <a:gd name="connsiteY8" fmla="*/ 1742130 h 1742130"/>
              <a:gd name="connsiteX9" fmla="*/ 0 w 12237742"/>
              <a:gd name="connsiteY9" fmla="*/ 0 h 1742130"/>
              <a:gd name="connsiteX0" fmla="*/ 0 w 12237742"/>
              <a:gd name="connsiteY0" fmla="*/ 0 h 1742130"/>
              <a:gd name="connsiteX1" fmla="*/ 2261766 w 12237742"/>
              <a:gd name="connsiteY1" fmla="*/ 0 h 1742130"/>
              <a:gd name="connsiteX2" fmla="*/ 2669225 w 12237742"/>
              <a:gd name="connsiteY2" fmla="*/ 201008 h 1742130"/>
              <a:gd name="connsiteX3" fmla="*/ 12237742 w 12237742"/>
              <a:gd name="connsiteY3" fmla="*/ 201008 h 1742130"/>
              <a:gd name="connsiteX4" fmla="*/ 12234020 w 12237742"/>
              <a:gd name="connsiteY4" fmla="*/ 1625525 h 1742130"/>
              <a:gd name="connsiteX5" fmla="*/ 9244676 w 12237742"/>
              <a:gd name="connsiteY5" fmla="*/ 1508582 h 1742130"/>
              <a:gd name="connsiteX6" fmla="*/ 8712452 w 12237742"/>
              <a:gd name="connsiteY6" fmla="*/ 1740686 h 1742130"/>
              <a:gd name="connsiteX7" fmla="*/ 8715763 w 12237742"/>
              <a:gd name="connsiteY7" fmla="*/ 1742130 h 1742130"/>
              <a:gd name="connsiteX8" fmla="*/ 0 w 12237742"/>
              <a:gd name="connsiteY8" fmla="*/ 1742130 h 1742130"/>
              <a:gd name="connsiteX9" fmla="*/ 0 w 12237742"/>
              <a:gd name="connsiteY9" fmla="*/ 0 h 1742130"/>
              <a:gd name="connsiteX0" fmla="*/ 0 w 12237742"/>
              <a:gd name="connsiteY0" fmla="*/ 0 h 1742130"/>
              <a:gd name="connsiteX1" fmla="*/ 2261766 w 12237742"/>
              <a:gd name="connsiteY1" fmla="*/ 0 h 1742130"/>
              <a:gd name="connsiteX2" fmla="*/ 2669225 w 12237742"/>
              <a:gd name="connsiteY2" fmla="*/ 201008 h 1742130"/>
              <a:gd name="connsiteX3" fmla="*/ 12237742 w 12237742"/>
              <a:gd name="connsiteY3" fmla="*/ 201008 h 1742130"/>
              <a:gd name="connsiteX4" fmla="*/ 12234020 w 12237742"/>
              <a:gd name="connsiteY4" fmla="*/ 1625525 h 1742130"/>
              <a:gd name="connsiteX5" fmla="*/ 8998407 w 12237742"/>
              <a:gd name="connsiteY5" fmla="*/ 1625525 h 1742130"/>
              <a:gd name="connsiteX6" fmla="*/ 8712452 w 12237742"/>
              <a:gd name="connsiteY6" fmla="*/ 1740686 h 1742130"/>
              <a:gd name="connsiteX7" fmla="*/ 8715763 w 12237742"/>
              <a:gd name="connsiteY7" fmla="*/ 1742130 h 1742130"/>
              <a:gd name="connsiteX8" fmla="*/ 0 w 12237742"/>
              <a:gd name="connsiteY8" fmla="*/ 1742130 h 1742130"/>
              <a:gd name="connsiteX9" fmla="*/ 0 w 12237742"/>
              <a:gd name="connsiteY9" fmla="*/ 0 h 1742130"/>
              <a:gd name="connsiteX0" fmla="*/ 0 w 12237742"/>
              <a:gd name="connsiteY0" fmla="*/ 0 h 1742130"/>
              <a:gd name="connsiteX1" fmla="*/ 2261766 w 12237742"/>
              <a:gd name="connsiteY1" fmla="*/ 0 h 1742130"/>
              <a:gd name="connsiteX2" fmla="*/ 2669225 w 12237742"/>
              <a:gd name="connsiteY2" fmla="*/ 201008 h 1742130"/>
              <a:gd name="connsiteX3" fmla="*/ 12237742 w 12237742"/>
              <a:gd name="connsiteY3" fmla="*/ 201008 h 1742130"/>
              <a:gd name="connsiteX4" fmla="*/ 12234020 w 12237742"/>
              <a:gd name="connsiteY4" fmla="*/ 1625525 h 1742130"/>
              <a:gd name="connsiteX5" fmla="*/ 9130033 w 12237742"/>
              <a:gd name="connsiteY5" fmla="*/ 1621349 h 1742130"/>
              <a:gd name="connsiteX6" fmla="*/ 8712452 w 12237742"/>
              <a:gd name="connsiteY6" fmla="*/ 1740686 h 1742130"/>
              <a:gd name="connsiteX7" fmla="*/ 8715763 w 12237742"/>
              <a:gd name="connsiteY7" fmla="*/ 1742130 h 1742130"/>
              <a:gd name="connsiteX8" fmla="*/ 0 w 12237742"/>
              <a:gd name="connsiteY8" fmla="*/ 1742130 h 1742130"/>
              <a:gd name="connsiteX9" fmla="*/ 0 w 12237742"/>
              <a:gd name="connsiteY9" fmla="*/ 0 h 1742130"/>
              <a:gd name="connsiteX0" fmla="*/ 0 w 12237742"/>
              <a:gd name="connsiteY0" fmla="*/ 0 h 1754660"/>
              <a:gd name="connsiteX1" fmla="*/ 2261766 w 12237742"/>
              <a:gd name="connsiteY1" fmla="*/ 0 h 1754660"/>
              <a:gd name="connsiteX2" fmla="*/ 2669225 w 12237742"/>
              <a:gd name="connsiteY2" fmla="*/ 201008 h 1754660"/>
              <a:gd name="connsiteX3" fmla="*/ 12237742 w 12237742"/>
              <a:gd name="connsiteY3" fmla="*/ 201008 h 1754660"/>
              <a:gd name="connsiteX4" fmla="*/ 12234020 w 12237742"/>
              <a:gd name="connsiteY4" fmla="*/ 1625525 h 1754660"/>
              <a:gd name="connsiteX5" fmla="*/ 9130033 w 12237742"/>
              <a:gd name="connsiteY5" fmla="*/ 1621349 h 1754660"/>
              <a:gd name="connsiteX6" fmla="*/ 8712452 w 12237742"/>
              <a:gd name="connsiteY6" fmla="*/ 1740686 h 1754660"/>
              <a:gd name="connsiteX7" fmla="*/ 8864374 w 12237742"/>
              <a:gd name="connsiteY7" fmla="*/ 1754660 h 1754660"/>
              <a:gd name="connsiteX8" fmla="*/ 0 w 12237742"/>
              <a:gd name="connsiteY8" fmla="*/ 1742130 h 1754660"/>
              <a:gd name="connsiteX9" fmla="*/ 0 w 12237742"/>
              <a:gd name="connsiteY9" fmla="*/ 0 h 1754660"/>
              <a:gd name="connsiteX0" fmla="*/ 0 w 12237742"/>
              <a:gd name="connsiteY0" fmla="*/ 0 h 1754660"/>
              <a:gd name="connsiteX1" fmla="*/ 2261766 w 12237742"/>
              <a:gd name="connsiteY1" fmla="*/ 0 h 1754660"/>
              <a:gd name="connsiteX2" fmla="*/ 2669225 w 12237742"/>
              <a:gd name="connsiteY2" fmla="*/ 201008 h 1754660"/>
              <a:gd name="connsiteX3" fmla="*/ 12237742 w 12237742"/>
              <a:gd name="connsiteY3" fmla="*/ 201008 h 1754660"/>
              <a:gd name="connsiteX4" fmla="*/ 12234020 w 12237742"/>
              <a:gd name="connsiteY4" fmla="*/ 1625525 h 1754660"/>
              <a:gd name="connsiteX5" fmla="*/ 9130033 w 12237742"/>
              <a:gd name="connsiteY5" fmla="*/ 1621349 h 1754660"/>
              <a:gd name="connsiteX6" fmla="*/ 8864374 w 12237742"/>
              <a:gd name="connsiteY6" fmla="*/ 1754660 h 1754660"/>
              <a:gd name="connsiteX7" fmla="*/ 0 w 12237742"/>
              <a:gd name="connsiteY7" fmla="*/ 1742130 h 1754660"/>
              <a:gd name="connsiteX8" fmla="*/ 0 w 12237742"/>
              <a:gd name="connsiteY8" fmla="*/ 0 h 17546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237742" h="1754660">
                <a:moveTo>
                  <a:pt x="0" y="0"/>
                </a:moveTo>
                <a:lnTo>
                  <a:pt x="2261766" y="0"/>
                </a:lnTo>
                <a:lnTo>
                  <a:pt x="2669225" y="201008"/>
                </a:lnTo>
                <a:lnTo>
                  <a:pt x="12237742" y="201008"/>
                </a:lnTo>
                <a:cubicBezTo>
                  <a:pt x="12236501" y="675847"/>
                  <a:pt x="12235261" y="1150686"/>
                  <a:pt x="12234020" y="1625525"/>
                </a:cubicBezTo>
                <a:lnTo>
                  <a:pt x="9130033" y="1621349"/>
                </a:lnTo>
                <a:lnTo>
                  <a:pt x="8864374" y="1754660"/>
                </a:lnTo>
                <a:lnTo>
                  <a:pt x="0" y="1742130"/>
                </a:lnTo>
                <a:lnTo>
                  <a:pt x="0" y="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s-PE" dirty="0">
              <a:solidFill>
                <a:schemeClr val="bg1"/>
              </a:solidFill>
            </a:endParaRPr>
          </a:p>
        </p:txBody>
      </p:sp>
      <p:pic>
        <p:nvPicPr>
          <p:cNvPr id="27" name="Picture 26">
            <a:extLst>
              <a:ext uri="{FF2B5EF4-FFF2-40B4-BE49-F238E27FC236}">
                <a16:creationId xmlns:a16="http://schemas.microsoft.com/office/drawing/2014/main" id="{DF771BFD-33F4-4302-AE78-E4E13F5674E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5332" r="41262"/>
          <a:stretch/>
        </p:blipFill>
        <p:spPr>
          <a:xfrm rot="16200000" flipH="1">
            <a:off x="953985" y="4422514"/>
            <a:ext cx="295205" cy="1832111"/>
          </a:xfrm>
          <a:prstGeom prst="rect">
            <a:avLst/>
          </a:prstGeom>
        </p:spPr>
      </p:pic>
      <p:pic>
        <p:nvPicPr>
          <p:cNvPr id="28" name="Picture 27">
            <a:extLst>
              <a:ext uri="{FF2B5EF4-FFF2-40B4-BE49-F238E27FC236}">
                <a16:creationId xmlns:a16="http://schemas.microsoft.com/office/drawing/2014/main" id="{4E774EAE-5A9D-4928-87E1-FB117CF26F0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5332" r="41262"/>
          <a:stretch/>
        </p:blipFill>
        <p:spPr>
          <a:xfrm rot="5400000" flipH="1">
            <a:off x="10974163" y="5290916"/>
            <a:ext cx="295205" cy="1832111"/>
          </a:xfrm>
          <a:prstGeom prst="rect">
            <a:avLst/>
          </a:prstGeom>
        </p:spPr>
      </p:pic>
      <p:sp>
        <p:nvSpPr>
          <p:cNvPr id="10" name="Text Placeholder 27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1001776" y="5574141"/>
            <a:ext cx="10541000" cy="609398"/>
          </a:xfrm>
        </p:spPr>
        <p:txBody>
          <a:bodyPr anchor="ctr" anchorCtr="0">
            <a:sp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buNone/>
              <a:defRPr sz="4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8" name="Freeform: Shape 7">
            <a:extLst>
              <a:ext uri="{FF2B5EF4-FFF2-40B4-BE49-F238E27FC236}">
                <a16:creationId xmlns:a16="http://schemas.microsoft.com/office/drawing/2014/main" id="{224C9CD7-8228-4D6A-93B4-D9B4CD2A2779}"/>
              </a:ext>
            </a:extLst>
          </p:cNvPr>
          <p:cNvSpPr/>
          <p:nvPr userDrawn="1"/>
        </p:nvSpPr>
        <p:spPr>
          <a:xfrm>
            <a:off x="0" y="6624535"/>
            <a:ext cx="12188952" cy="233465"/>
          </a:xfrm>
          <a:custGeom>
            <a:avLst/>
            <a:gdLst>
              <a:gd name="connsiteX0" fmla="*/ 8949770 w 11969877"/>
              <a:gd name="connsiteY0" fmla="*/ 0 h 233465"/>
              <a:gd name="connsiteX1" fmla="*/ 11969877 w 11969877"/>
              <a:gd name="connsiteY1" fmla="*/ 0 h 233465"/>
              <a:gd name="connsiteX2" fmla="*/ 11969877 w 11969877"/>
              <a:gd name="connsiteY2" fmla="*/ 233465 h 233465"/>
              <a:gd name="connsiteX3" fmla="*/ 9027859 w 11969877"/>
              <a:gd name="connsiteY3" fmla="*/ 233465 h 233465"/>
              <a:gd name="connsiteX4" fmla="*/ 1048596 w 11969877"/>
              <a:gd name="connsiteY4" fmla="*/ 233465 h 233465"/>
              <a:gd name="connsiteX5" fmla="*/ 33436 w 11969877"/>
              <a:gd name="connsiteY5" fmla="*/ 233465 h 233465"/>
              <a:gd name="connsiteX6" fmla="*/ 0 w 11969877"/>
              <a:gd name="connsiteY6" fmla="*/ 233465 h 233465"/>
              <a:gd name="connsiteX7" fmla="*/ 0 w 11969877"/>
              <a:gd name="connsiteY7" fmla="*/ 169375 h 233465"/>
              <a:gd name="connsiteX8" fmla="*/ 0 w 11969877"/>
              <a:gd name="connsiteY8" fmla="*/ 126232 h 233465"/>
              <a:gd name="connsiteX9" fmla="*/ 0 w 11969877"/>
              <a:gd name="connsiteY9" fmla="*/ 109891 h 233465"/>
              <a:gd name="connsiteX10" fmla="*/ 8695556 w 11969877"/>
              <a:gd name="connsiteY10" fmla="*/ 109891 h 233465"/>
              <a:gd name="connsiteX11" fmla="*/ 8949770 w 11969877"/>
              <a:gd name="connsiteY11" fmla="*/ 0 h 233465"/>
              <a:gd name="connsiteX0" fmla="*/ 8949770 w 11969877"/>
              <a:gd name="connsiteY0" fmla="*/ 0 h 233465"/>
              <a:gd name="connsiteX1" fmla="*/ 11969877 w 11969877"/>
              <a:gd name="connsiteY1" fmla="*/ 0 h 233465"/>
              <a:gd name="connsiteX2" fmla="*/ 11969877 w 11969877"/>
              <a:gd name="connsiteY2" fmla="*/ 233465 h 233465"/>
              <a:gd name="connsiteX3" fmla="*/ 9027859 w 11969877"/>
              <a:gd name="connsiteY3" fmla="*/ 233465 h 233465"/>
              <a:gd name="connsiteX4" fmla="*/ 1048596 w 11969877"/>
              <a:gd name="connsiteY4" fmla="*/ 233465 h 233465"/>
              <a:gd name="connsiteX5" fmla="*/ 33436 w 11969877"/>
              <a:gd name="connsiteY5" fmla="*/ 233465 h 233465"/>
              <a:gd name="connsiteX6" fmla="*/ 0 w 11969877"/>
              <a:gd name="connsiteY6" fmla="*/ 233465 h 233465"/>
              <a:gd name="connsiteX7" fmla="*/ 0 w 11969877"/>
              <a:gd name="connsiteY7" fmla="*/ 169375 h 233465"/>
              <a:gd name="connsiteX8" fmla="*/ 0 w 11969877"/>
              <a:gd name="connsiteY8" fmla="*/ 126232 h 233465"/>
              <a:gd name="connsiteX9" fmla="*/ 0 w 11969877"/>
              <a:gd name="connsiteY9" fmla="*/ 109891 h 233465"/>
              <a:gd name="connsiteX10" fmla="*/ 8708028 w 11969877"/>
              <a:gd name="connsiteY10" fmla="*/ 141641 h 233465"/>
              <a:gd name="connsiteX11" fmla="*/ 8949770 w 11969877"/>
              <a:gd name="connsiteY11" fmla="*/ 0 h 2334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1969877" h="233465">
                <a:moveTo>
                  <a:pt x="8949770" y="0"/>
                </a:moveTo>
                <a:lnTo>
                  <a:pt x="11969877" y="0"/>
                </a:lnTo>
                <a:lnTo>
                  <a:pt x="11969877" y="233465"/>
                </a:lnTo>
                <a:lnTo>
                  <a:pt x="9027859" y="233465"/>
                </a:lnTo>
                <a:lnTo>
                  <a:pt x="1048596" y="233465"/>
                </a:lnTo>
                <a:lnTo>
                  <a:pt x="33436" y="233465"/>
                </a:lnTo>
                <a:lnTo>
                  <a:pt x="0" y="233465"/>
                </a:lnTo>
                <a:lnTo>
                  <a:pt x="0" y="169375"/>
                </a:lnTo>
                <a:lnTo>
                  <a:pt x="0" y="126232"/>
                </a:lnTo>
                <a:lnTo>
                  <a:pt x="0" y="109891"/>
                </a:lnTo>
                <a:lnTo>
                  <a:pt x="8708028" y="141641"/>
                </a:lnTo>
                <a:lnTo>
                  <a:pt x="8949770" y="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 sz="1800" dirty="0">
              <a:solidFill>
                <a:schemeClr val="bg1"/>
              </a:solidFill>
            </a:endParaRPr>
          </a:p>
        </p:txBody>
      </p:sp>
      <p:sp>
        <p:nvSpPr>
          <p:cNvPr id="9" name="Freeform 4">
            <a:extLst>
              <a:ext uri="{FF2B5EF4-FFF2-40B4-BE49-F238E27FC236}">
                <a16:creationId xmlns:a16="http://schemas.microsoft.com/office/drawing/2014/main" id="{D3794542-D2C7-432F-9113-2FE8B4A5528B}"/>
              </a:ext>
            </a:extLst>
          </p:cNvPr>
          <p:cNvSpPr>
            <a:spLocks noChangeAspect="1"/>
          </p:cNvSpPr>
          <p:nvPr userDrawn="1"/>
        </p:nvSpPr>
        <p:spPr>
          <a:xfrm>
            <a:off x="8585655" y="6620256"/>
            <a:ext cx="545655" cy="237744"/>
          </a:xfrm>
          <a:custGeom>
            <a:avLst/>
            <a:gdLst>
              <a:gd name="connsiteX0" fmla="*/ 57150 w 1790700"/>
              <a:gd name="connsiteY0" fmla="*/ 0 h 3086100"/>
              <a:gd name="connsiteX1" fmla="*/ 1790700 w 1790700"/>
              <a:gd name="connsiteY1" fmla="*/ 3086100 h 3086100"/>
              <a:gd name="connsiteX2" fmla="*/ 0 w 1790700"/>
              <a:gd name="connsiteY2" fmla="*/ 3067050 h 3086100"/>
              <a:gd name="connsiteX3" fmla="*/ 0 w 1790700"/>
              <a:gd name="connsiteY3" fmla="*/ 0 h 3086100"/>
              <a:gd name="connsiteX4" fmla="*/ 19050 w 1790700"/>
              <a:gd name="connsiteY4" fmla="*/ 38100 h 3086100"/>
              <a:gd name="connsiteX5" fmla="*/ 19050 w 1790700"/>
              <a:gd name="connsiteY5" fmla="*/ 57150 h 3086100"/>
              <a:gd name="connsiteX0" fmla="*/ 57150 w 1790700"/>
              <a:gd name="connsiteY0" fmla="*/ 0 h 3086100"/>
              <a:gd name="connsiteX1" fmla="*/ 1790700 w 1790700"/>
              <a:gd name="connsiteY1" fmla="*/ 3086100 h 3086100"/>
              <a:gd name="connsiteX2" fmla="*/ 0 w 1790700"/>
              <a:gd name="connsiteY2" fmla="*/ 3067050 h 3086100"/>
              <a:gd name="connsiteX3" fmla="*/ 0 w 1790700"/>
              <a:gd name="connsiteY3" fmla="*/ 0 h 3086100"/>
              <a:gd name="connsiteX4" fmla="*/ 19050 w 1790700"/>
              <a:gd name="connsiteY4" fmla="*/ 38100 h 3086100"/>
              <a:gd name="connsiteX0" fmla="*/ 57150 w 1790700"/>
              <a:gd name="connsiteY0" fmla="*/ 0 h 3086100"/>
              <a:gd name="connsiteX1" fmla="*/ 1790700 w 1790700"/>
              <a:gd name="connsiteY1" fmla="*/ 3086100 h 3086100"/>
              <a:gd name="connsiteX2" fmla="*/ 0 w 1790700"/>
              <a:gd name="connsiteY2" fmla="*/ 3067050 h 3086100"/>
              <a:gd name="connsiteX3" fmla="*/ 0 w 1790700"/>
              <a:gd name="connsiteY3" fmla="*/ 0 h 3086100"/>
              <a:gd name="connsiteX0" fmla="*/ 57150 w 1790700"/>
              <a:gd name="connsiteY0" fmla="*/ 0 h 3086100"/>
              <a:gd name="connsiteX1" fmla="*/ 1790700 w 1790700"/>
              <a:gd name="connsiteY1" fmla="*/ 3086100 h 3086100"/>
              <a:gd name="connsiteX2" fmla="*/ 0 w 1790700"/>
              <a:gd name="connsiteY2" fmla="*/ 3067050 h 3086100"/>
              <a:gd name="connsiteX0" fmla="*/ 0 w 1733550"/>
              <a:gd name="connsiteY0" fmla="*/ 0 h 3086100"/>
              <a:gd name="connsiteX1" fmla="*/ 1733550 w 1733550"/>
              <a:gd name="connsiteY1" fmla="*/ 3086100 h 3086100"/>
              <a:gd name="connsiteX2" fmla="*/ 613087 w 1733550"/>
              <a:gd name="connsiteY2" fmla="*/ 3077523 h 3086100"/>
              <a:gd name="connsiteX0" fmla="*/ 245654 w 1120463"/>
              <a:gd name="connsiteY0" fmla="*/ 0 h 1525705"/>
              <a:gd name="connsiteX1" fmla="*/ 1120463 w 1120463"/>
              <a:gd name="connsiteY1" fmla="*/ 1525705 h 1525705"/>
              <a:gd name="connsiteX2" fmla="*/ 0 w 1120463"/>
              <a:gd name="connsiteY2" fmla="*/ 1517128 h 1525705"/>
              <a:gd name="connsiteX0" fmla="*/ 811167 w 1120463"/>
              <a:gd name="connsiteY0" fmla="*/ 0 h 1211531"/>
              <a:gd name="connsiteX1" fmla="*/ 1120463 w 1120463"/>
              <a:gd name="connsiteY1" fmla="*/ 1211531 h 1211531"/>
              <a:gd name="connsiteX2" fmla="*/ 0 w 1120463"/>
              <a:gd name="connsiteY2" fmla="*/ 1202954 h 1211531"/>
              <a:gd name="connsiteX0" fmla="*/ 874002 w 1183298"/>
              <a:gd name="connsiteY0" fmla="*/ 0 h 1213426"/>
              <a:gd name="connsiteX1" fmla="*/ 1183298 w 1183298"/>
              <a:gd name="connsiteY1" fmla="*/ 1211531 h 1213426"/>
              <a:gd name="connsiteX2" fmla="*/ 0 w 1183298"/>
              <a:gd name="connsiteY2" fmla="*/ 1213426 h 1213426"/>
              <a:gd name="connsiteX0" fmla="*/ 857693 w 1166989"/>
              <a:gd name="connsiteY0" fmla="*/ 0 h 1213426"/>
              <a:gd name="connsiteX1" fmla="*/ 1166989 w 1166989"/>
              <a:gd name="connsiteY1" fmla="*/ 1211531 h 1213426"/>
              <a:gd name="connsiteX2" fmla="*/ 0 w 1166989"/>
              <a:gd name="connsiteY2" fmla="*/ 1213426 h 1213426"/>
              <a:gd name="connsiteX0" fmla="*/ 1062735 w 1166989"/>
              <a:gd name="connsiteY0" fmla="*/ 0 h 857667"/>
              <a:gd name="connsiteX1" fmla="*/ 1166989 w 1166989"/>
              <a:gd name="connsiteY1" fmla="*/ 855772 h 857667"/>
              <a:gd name="connsiteX2" fmla="*/ 0 w 1166989"/>
              <a:gd name="connsiteY2" fmla="*/ 857667 h 857667"/>
              <a:gd name="connsiteX0" fmla="*/ 1037104 w 1166989"/>
              <a:gd name="connsiteY0" fmla="*/ 0 h 928818"/>
              <a:gd name="connsiteX1" fmla="*/ 1166989 w 1166989"/>
              <a:gd name="connsiteY1" fmla="*/ 926923 h 928818"/>
              <a:gd name="connsiteX2" fmla="*/ 0 w 1166989"/>
              <a:gd name="connsiteY2" fmla="*/ 928818 h 928818"/>
              <a:gd name="connsiteX0" fmla="*/ 1037104 w 1037104"/>
              <a:gd name="connsiteY0" fmla="*/ 0 h 962499"/>
              <a:gd name="connsiteX1" fmla="*/ 791077 w 1037104"/>
              <a:gd name="connsiteY1" fmla="*/ 962499 h 962499"/>
              <a:gd name="connsiteX2" fmla="*/ 0 w 1037104"/>
              <a:gd name="connsiteY2" fmla="*/ 928818 h 962499"/>
              <a:gd name="connsiteX0" fmla="*/ 1037104 w 1037104"/>
              <a:gd name="connsiteY0" fmla="*/ 0 h 962499"/>
              <a:gd name="connsiteX1" fmla="*/ 791077 w 1037104"/>
              <a:gd name="connsiteY1" fmla="*/ 962499 h 962499"/>
              <a:gd name="connsiteX2" fmla="*/ 0 w 1037104"/>
              <a:gd name="connsiteY2" fmla="*/ 955031 h 962499"/>
              <a:gd name="connsiteX0" fmla="*/ 1046547 w 1046547"/>
              <a:gd name="connsiteY0" fmla="*/ 0 h 949391"/>
              <a:gd name="connsiteX1" fmla="*/ 791077 w 1046547"/>
              <a:gd name="connsiteY1" fmla="*/ 949391 h 949391"/>
              <a:gd name="connsiteX2" fmla="*/ 0 w 1046547"/>
              <a:gd name="connsiteY2" fmla="*/ 941923 h 9493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046547" h="949391">
                <a:moveTo>
                  <a:pt x="1046547" y="0"/>
                </a:moveTo>
                <a:lnTo>
                  <a:pt x="791077" y="949391"/>
                </a:lnTo>
                <a:lnTo>
                  <a:pt x="0" y="941923"/>
                </a:lnTo>
              </a:path>
            </a:pathLst>
          </a:custGeom>
          <a:gradFill>
            <a:gsLst>
              <a:gs pos="35000">
                <a:srgbClr val="6CC04A"/>
              </a:gs>
              <a:gs pos="100000">
                <a:schemeClr val="bg2">
                  <a:lumMod val="60000"/>
                  <a:lumOff val="40000"/>
                </a:scheme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TCRaleway" panose="020B0503030101060003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460206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2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9">
            <a:extLst>
              <a:ext uri="{FF2B5EF4-FFF2-40B4-BE49-F238E27FC236}">
                <a16:creationId xmlns:a16="http://schemas.microsoft.com/office/drawing/2014/main" id="{992F3403-9E0E-4B63-A839-BDA384B8E3CD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6448291" y="2733199"/>
            <a:ext cx="5120640" cy="2812017"/>
          </a:xfrm>
          <a:prstGeom prst="rect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0" indent="0" algn="ctr">
              <a:buFontTx/>
              <a:buNone/>
              <a:defRPr lang="en-US" sz="1000" b="0" baseline="0">
                <a:solidFill>
                  <a:schemeClr val="accent3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8" name="Picture Placeholder 2">
            <a:extLst>
              <a:ext uri="{FF2B5EF4-FFF2-40B4-BE49-F238E27FC236}">
                <a16:creationId xmlns:a16="http://schemas.microsoft.com/office/drawing/2014/main" id="{2BD43F86-E489-4FF1-B499-7BF132B537E4}"/>
              </a:ext>
            </a:extLst>
          </p:cNvPr>
          <p:cNvSpPr>
            <a:spLocks noGrp="1"/>
          </p:cNvSpPr>
          <p:nvPr>
            <p:ph type="pic" idx="14" hasCustomPrompt="1"/>
          </p:nvPr>
        </p:nvSpPr>
        <p:spPr>
          <a:xfrm>
            <a:off x="868491" y="2733198"/>
            <a:ext cx="5120640" cy="2818946"/>
          </a:xfrm>
          <a:prstGeom prst="rect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0" indent="0" algn="ctr">
              <a:buFontTx/>
              <a:buNone/>
              <a:defRPr lang="ko-KR" altLang="en-US" sz="1000" baseline="0" dirty="0">
                <a:solidFill>
                  <a:schemeClr val="accent3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25A81C6-E459-47F8-BE7E-E79BDF03FDE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68491" y="5726510"/>
            <a:ext cx="5120640" cy="276999"/>
          </a:xfrm>
        </p:spPr>
        <p:txBody>
          <a:bodyPr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9043761F-801C-479C-8752-C1BDEEBF98F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68491" y="2306505"/>
            <a:ext cx="5120640" cy="347472"/>
          </a:xfrm>
        </p:spPr>
        <p:txBody>
          <a:bodyPr vert="horz" lIns="0" tIns="0" rIns="0" bIns="0" rtlCol="0" anchor="ctr" anchorCtr="0">
            <a:noAutofit/>
          </a:bodyPr>
          <a:lstStyle>
            <a:lvl1pPr>
              <a:defRPr lang="en-US" sz="2000" b="1" dirty="0"/>
            </a:lvl1pPr>
          </a:lstStyle>
          <a:p>
            <a:pPr marL="0" lvl="0" indent="0" algn="ctr">
              <a:lnSpc>
                <a:spcPct val="85000"/>
              </a:lnSpc>
              <a:spcBef>
                <a:spcPts val="0"/>
              </a:spcBef>
              <a:buNone/>
            </a:pPr>
            <a:r>
              <a:rPr lang="en-US" dirty="0"/>
              <a:t>Add title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6A54E21F-0B44-4E38-ACAA-0FDCCCC54078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448291" y="2306505"/>
            <a:ext cx="5120640" cy="347472"/>
          </a:xfrm>
        </p:spPr>
        <p:txBody>
          <a:bodyPr vert="horz" lIns="0" tIns="0" rIns="0" bIns="0" rtlCol="0" anchor="ctr" anchorCtr="0">
            <a:noAutofit/>
          </a:bodyPr>
          <a:lstStyle>
            <a:lvl1pPr>
              <a:defRPr lang="en-US" sz="2000" b="1" dirty="0"/>
            </a:lvl1pPr>
          </a:lstStyle>
          <a:p>
            <a:pPr marL="0" lvl="0" indent="0" algn="ctr">
              <a:lnSpc>
                <a:spcPct val="85000"/>
              </a:lnSpc>
              <a:spcBef>
                <a:spcPts val="0"/>
              </a:spcBef>
              <a:buNone/>
            </a:pPr>
            <a:r>
              <a:rPr lang="en-US" dirty="0"/>
              <a:t>Add title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A63526DB-9535-4082-B91B-6B7BAEA14DD3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448291" y="5726510"/>
            <a:ext cx="5120640" cy="276999"/>
          </a:xfrm>
        </p:spPr>
        <p:txBody>
          <a:bodyPr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0A4810EA-6AC4-42A0-98B5-8E13D873B935}"/>
              </a:ext>
            </a:extLst>
          </p:cNvPr>
          <p:cNvSpPr/>
          <p:nvPr userDrawn="1"/>
        </p:nvSpPr>
        <p:spPr>
          <a:xfrm>
            <a:off x="0" y="2733198"/>
            <a:ext cx="521970" cy="281894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accent3"/>
              </a:solidFill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A1ACC0E3-5E84-4BB5-8DA2-7D1265BD186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B036D3AC-79C7-4664-A1E8-BBAF473E80C2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880243" y="1704673"/>
            <a:ext cx="10698480" cy="304699"/>
          </a:xfrm>
          <a:noFill/>
        </p:spPr>
        <p:txBody>
          <a:bodyPr vert="horz" lIns="0" tIns="0" rIns="0" bIns="0" rtlCol="0" anchor="ctr" anchorCtr="0">
            <a:spAutoFit/>
          </a:bodyPr>
          <a:lstStyle>
            <a:lvl1pPr marL="0" indent="0" algn="ctr">
              <a:buFontTx/>
              <a:buNone/>
              <a:defRPr lang="en-US" sz="2200" dirty="0"/>
            </a:lvl1pPr>
          </a:lstStyle>
          <a:p>
            <a:pPr lvl="0"/>
            <a:r>
              <a:rPr lang="en-US" dirty="0"/>
              <a:t>Call out blurb</a:t>
            </a:r>
          </a:p>
        </p:txBody>
      </p:sp>
    </p:spTree>
    <p:extLst>
      <p:ext uri="{BB962C8B-B14F-4D97-AF65-F5344CB8AC3E}">
        <p14:creationId xmlns:p14="http://schemas.microsoft.com/office/powerpoint/2010/main" val="4615509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3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605A72E-D1F7-4136-939F-889F4228C56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add title – keep it brief</a:t>
            </a:r>
          </a:p>
        </p:txBody>
      </p:sp>
      <p:sp>
        <p:nvSpPr>
          <p:cNvPr id="17" name="Picture Placeholder 2">
            <a:extLst>
              <a:ext uri="{FF2B5EF4-FFF2-40B4-BE49-F238E27FC236}">
                <a16:creationId xmlns:a16="http://schemas.microsoft.com/office/drawing/2014/main" id="{734315CC-5450-4530-9C7C-C6329202BB8A}"/>
              </a:ext>
            </a:extLst>
          </p:cNvPr>
          <p:cNvSpPr>
            <a:spLocks noGrp="1"/>
          </p:cNvSpPr>
          <p:nvPr>
            <p:ph type="pic" idx="14" hasCustomPrompt="1"/>
          </p:nvPr>
        </p:nvSpPr>
        <p:spPr>
          <a:xfrm>
            <a:off x="868491" y="2733197"/>
            <a:ext cx="3291840" cy="2818947"/>
          </a:xfrm>
          <a:prstGeom prst="rect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273582" indent="-273582" algn="ctr">
              <a:buFontTx/>
              <a:buNone/>
              <a:defRPr lang="ko-KR" altLang="en-US" sz="1000" baseline="0" dirty="0">
                <a:solidFill>
                  <a:schemeClr val="accent3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EB534821-3EEB-4445-9BFD-DB59E8633CD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68491" y="5726508"/>
            <a:ext cx="3291840" cy="276999"/>
          </a:xfrm>
        </p:spPr>
        <p:txBody>
          <a:bodyPr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19" name="Text Placeholder 15">
            <a:extLst>
              <a:ext uri="{FF2B5EF4-FFF2-40B4-BE49-F238E27FC236}">
                <a16:creationId xmlns:a16="http://schemas.microsoft.com/office/drawing/2014/main" id="{CC531C6F-4A51-422E-AAD3-66A97107E2E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68491" y="2262960"/>
            <a:ext cx="3291840" cy="347472"/>
          </a:xfrm>
        </p:spPr>
        <p:txBody>
          <a:bodyPr anchor="ctr" anchorCtr="0"/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30" name="Picture Placeholder 2">
            <a:extLst>
              <a:ext uri="{FF2B5EF4-FFF2-40B4-BE49-F238E27FC236}">
                <a16:creationId xmlns:a16="http://schemas.microsoft.com/office/drawing/2014/main" id="{6967C944-2E33-48AF-A92E-64B48BAE381C}"/>
              </a:ext>
            </a:extLst>
          </p:cNvPr>
          <p:cNvSpPr>
            <a:spLocks noGrp="1"/>
          </p:cNvSpPr>
          <p:nvPr>
            <p:ph type="pic" idx="17" hasCustomPrompt="1"/>
          </p:nvPr>
        </p:nvSpPr>
        <p:spPr>
          <a:xfrm>
            <a:off x="4568395" y="2733198"/>
            <a:ext cx="3291840" cy="2818947"/>
          </a:xfrm>
          <a:prstGeom prst="rect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273582" indent="-273582" algn="ctr">
              <a:buFontTx/>
              <a:buNone/>
              <a:defRPr lang="ko-KR" altLang="en-US" sz="1000" baseline="0" dirty="0">
                <a:solidFill>
                  <a:schemeClr val="accent3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31" name="Text Placeholder 3">
            <a:extLst>
              <a:ext uri="{FF2B5EF4-FFF2-40B4-BE49-F238E27FC236}">
                <a16:creationId xmlns:a16="http://schemas.microsoft.com/office/drawing/2014/main" id="{E3C1D16A-B36B-4A37-80DC-56B397DB69F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568396" y="5726509"/>
            <a:ext cx="3291839" cy="276999"/>
          </a:xfrm>
        </p:spPr>
        <p:txBody>
          <a:bodyPr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32" name="Text Placeholder 15">
            <a:extLst>
              <a:ext uri="{FF2B5EF4-FFF2-40B4-BE49-F238E27FC236}">
                <a16:creationId xmlns:a16="http://schemas.microsoft.com/office/drawing/2014/main" id="{962DDCE9-BA3F-487A-BE50-C5483696925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568394" y="2262961"/>
            <a:ext cx="3291841" cy="347472"/>
          </a:xfrm>
        </p:spPr>
        <p:txBody>
          <a:bodyPr anchor="ctr" anchorCtr="0"/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33" name="Picture Placeholder 2">
            <a:extLst>
              <a:ext uri="{FF2B5EF4-FFF2-40B4-BE49-F238E27FC236}">
                <a16:creationId xmlns:a16="http://schemas.microsoft.com/office/drawing/2014/main" id="{82F5E967-4A83-4253-BD21-C1AF0745354A}"/>
              </a:ext>
            </a:extLst>
          </p:cNvPr>
          <p:cNvSpPr>
            <a:spLocks noGrp="1"/>
          </p:cNvSpPr>
          <p:nvPr>
            <p:ph type="pic" idx="20" hasCustomPrompt="1"/>
          </p:nvPr>
        </p:nvSpPr>
        <p:spPr>
          <a:xfrm>
            <a:off x="8268299" y="2733198"/>
            <a:ext cx="3291840" cy="2818947"/>
          </a:xfrm>
          <a:prstGeom prst="rect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273582" indent="-273582" algn="ctr">
              <a:buFontTx/>
              <a:buNone/>
              <a:defRPr lang="ko-KR" altLang="en-US" sz="1000" baseline="0" dirty="0">
                <a:solidFill>
                  <a:schemeClr val="accent3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34" name="Text Placeholder 3">
            <a:extLst>
              <a:ext uri="{FF2B5EF4-FFF2-40B4-BE49-F238E27FC236}">
                <a16:creationId xmlns:a16="http://schemas.microsoft.com/office/drawing/2014/main" id="{75B09AD7-1999-496D-94CA-E2EF33498E38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268300" y="5726509"/>
            <a:ext cx="3291839" cy="276999"/>
          </a:xfrm>
        </p:spPr>
        <p:txBody>
          <a:bodyPr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35" name="Text Placeholder 15">
            <a:extLst>
              <a:ext uri="{FF2B5EF4-FFF2-40B4-BE49-F238E27FC236}">
                <a16:creationId xmlns:a16="http://schemas.microsoft.com/office/drawing/2014/main" id="{EBE0EF1C-084A-4014-B7CE-5126CE9333B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268299" y="2262961"/>
            <a:ext cx="3291840" cy="347472"/>
          </a:xfrm>
        </p:spPr>
        <p:txBody>
          <a:bodyPr anchor="ctr" anchorCtr="0"/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D3814C0C-404A-4CB0-97DE-88DAC91C9F18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880243" y="1704676"/>
            <a:ext cx="10698480" cy="304699"/>
          </a:xfrm>
          <a:noFill/>
        </p:spPr>
        <p:txBody>
          <a:bodyPr vert="horz" lIns="0" tIns="0" rIns="0" bIns="0" rtlCol="0" anchor="ctr" anchorCtr="0">
            <a:spAutoFit/>
          </a:bodyPr>
          <a:lstStyle>
            <a:lvl1pPr marL="0" indent="0" algn="ctr">
              <a:buFontTx/>
              <a:buNone/>
              <a:defRPr lang="en-US" sz="2200" dirty="0"/>
            </a:lvl1pPr>
          </a:lstStyle>
          <a:p>
            <a:pPr lvl="0"/>
            <a:r>
              <a:rPr lang="en-US" dirty="0"/>
              <a:t>Call out blurb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AB871635-60AD-42B6-916B-AB696FC21C48}"/>
              </a:ext>
            </a:extLst>
          </p:cNvPr>
          <p:cNvSpPr/>
          <p:nvPr userDrawn="1"/>
        </p:nvSpPr>
        <p:spPr>
          <a:xfrm>
            <a:off x="0" y="2733198"/>
            <a:ext cx="521970" cy="281894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accent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428106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4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605A72E-D1F7-4136-939F-889F4228C56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add title – keep it brief</a:t>
            </a:r>
          </a:p>
        </p:txBody>
      </p:sp>
      <p:sp>
        <p:nvSpPr>
          <p:cNvPr id="19" name="Picture Placeholder 2">
            <a:extLst>
              <a:ext uri="{FF2B5EF4-FFF2-40B4-BE49-F238E27FC236}">
                <a16:creationId xmlns:a16="http://schemas.microsoft.com/office/drawing/2014/main" id="{D08697A9-763D-4101-A629-B8C464587CD1}"/>
              </a:ext>
            </a:extLst>
          </p:cNvPr>
          <p:cNvSpPr>
            <a:spLocks noGrp="1"/>
          </p:cNvSpPr>
          <p:nvPr>
            <p:ph type="pic" idx="14" hasCustomPrompt="1"/>
          </p:nvPr>
        </p:nvSpPr>
        <p:spPr>
          <a:xfrm>
            <a:off x="868491" y="2733197"/>
            <a:ext cx="2331720" cy="2818947"/>
          </a:xfrm>
          <a:prstGeom prst="rect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273582" indent="-273582" algn="ctr">
              <a:buFontTx/>
              <a:buNone/>
              <a:defRPr lang="ko-KR" altLang="en-US" sz="1000" baseline="0" dirty="0">
                <a:solidFill>
                  <a:schemeClr val="accent3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C0A40696-8BDA-4467-A948-8FDEE7B2B08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68491" y="5726508"/>
            <a:ext cx="2331718" cy="276999"/>
          </a:xfrm>
        </p:spPr>
        <p:txBody>
          <a:bodyPr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21" name="Text Placeholder 15">
            <a:extLst>
              <a:ext uri="{FF2B5EF4-FFF2-40B4-BE49-F238E27FC236}">
                <a16:creationId xmlns:a16="http://schemas.microsoft.com/office/drawing/2014/main" id="{45834AD1-67C6-4B52-9C1C-9CDC6E8FEDA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80243" y="2262961"/>
            <a:ext cx="2319968" cy="347472"/>
          </a:xfrm>
        </p:spPr>
        <p:txBody>
          <a:bodyPr anchor="ctr" anchorCtr="0"/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22" name="Picture Placeholder 2">
            <a:extLst>
              <a:ext uri="{FF2B5EF4-FFF2-40B4-BE49-F238E27FC236}">
                <a16:creationId xmlns:a16="http://schemas.microsoft.com/office/drawing/2014/main" id="{E2F4580A-0D5E-4A36-897F-BC82DD2F947C}"/>
              </a:ext>
            </a:extLst>
          </p:cNvPr>
          <p:cNvSpPr>
            <a:spLocks noGrp="1"/>
          </p:cNvSpPr>
          <p:nvPr>
            <p:ph type="pic" idx="17" hasCustomPrompt="1"/>
          </p:nvPr>
        </p:nvSpPr>
        <p:spPr>
          <a:xfrm>
            <a:off x="3661171" y="2733198"/>
            <a:ext cx="2331720" cy="2818947"/>
          </a:xfrm>
          <a:prstGeom prst="rect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273582" indent="-273582" algn="ctr">
              <a:buFontTx/>
              <a:buNone/>
              <a:defRPr lang="ko-KR" altLang="en-US" sz="1000" baseline="0" dirty="0">
                <a:solidFill>
                  <a:schemeClr val="accent3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23" name="Text Placeholder 3">
            <a:extLst>
              <a:ext uri="{FF2B5EF4-FFF2-40B4-BE49-F238E27FC236}">
                <a16:creationId xmlns:a16="http://schemas.microsoft.com/office/drawing/2014/main" id="{414A120F-5254-4AC5-842D-EDABFC03671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661171" y="5726509"/>
            <a:ext cx="2331720" cy="276999"/>
          </a:xfrm>
        </p:spPr>
        <p:txBody>
          <a:bodyPr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24" name="Text Placeholder 15">
            <a:extLst>
              <a:ext uri="{FF2B5EF4-FFF2-40B4-BE49-F238E27FC236}">
                <a16:creationId xmlns:a16="http://schemas.microsoft.com/office/drawing/2014/main" id="{5D35A3A2-00CD-44D2-821F-EE7604FDC94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661171" y="2262962"/>
            <a:ext cx="2331720" cy="347472"/>
          </a:xfrm>
        </p:spPr>
        <p:txBody>
          <a:bodyPr anchor="ctr" anchorCtr="0"/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32" name="Picture Placeholder 2">
            <a:extLst>
              <a:ext uri="{FF2B5EF4-FFF2-40B4-BE49-F238E27FC236}">
                <a16:creationId xmlns:a16="http://schemas.microsoft.com/office/drawing/2014/main" id="{5B0DDFC0-CB07-4EDA-AA79-CD84C12E72DF}"/>
              </a:ext>
            </a:extLst>
          </p:cNvPr>
          <p:cNvSpPr>
            <a:spLocks noGrp="1"/>
          </p:cNvSpPr>
          <p:nvPr>
            <p:ph type="pic" idx="20" hasCustomPrompt="1"/>
          </p:nvPr>
        </p:nvSpPr>
        <p:spPr>
          <a:xfrm>
            <a:off x="6453851" y="2733198"/>
            <a:ext cx="2331720" cy="2818947"/>
          </a:xfrm>
          <a:prstGeom prst="rect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273582" indent="-273582" algn="ctr">
              <a:buFontTx/>
              <a:buNone/>
              <a:defRPr lang="ko-KR" altLang="en-US" sz="1000" baseline="0" dirty="0">
                <a:solidFill>
                  <a:schemeClr val="accent3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33" name="Text Placeholder 3">
            <a:extLst>
              <a:ext uri="{FF2B5EF4-FFF2-40B4-BE49-F238E27FC236}">
                <a16:creationId xmlns:a16="http://schemas.microsoft.com/office/drawing/2014/main" id="{DDA81F5E-BFF4-40DB-9E52-F5C7CE6F26D3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453851" y="5726509"/>
            <a:ext cx="2331719" cy="276999"/>
          </a:xfrm>
        </p:spPr>
        <p:txBody>
          <a:bodyPr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34" name="Text Placeholder 15">
            <a:extLst>
              <a:ext uri="{FF2B5EF4-FFF2-40B4-BE49-F238E27FC236}">
                <a16:creationId xmlns:a16="http://schemas.microsoft.com/office/drawing/2014/main" id="{8A96BFD0-28FC-48C9-9D67-C16FE0496C6C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453851" y="2262962"/>
            <a:ext cx="2331719" cy="347472"/>
          </a:xfrm>
        </p:spPr>
        <p:txBody>
          <a:bodyPr anchor="ctr" anchorCtr="0"/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38" name="Picture Placeholder 2">
            <a:extLst>
              <a:ext uri="{FF2B5EF4-FFF2-40B4-BE49-F238E27FC236}">
                <a16:creationId xmlns:a16="http://schemas.microsoft.com/office/drawing/2014/main" id="{1C2FFA97-B5B5-4425-A02D-BE159DE90DDB}"/>
              </a:ext>
            </a:extLst>
          </p:cNvPr>
          <p:cNvSpPr>
            <a:spLocks noGrp="1"/>
          </p:cNvSpPr>
          <p:nvPr>
            <p:ph type="pic" idx="23" hasCustomPrompt="1"/>
          </p:nvPr>
        </p:nvSpPr>
        <p:spPr>
          <a:xfrm>
            <a:off x="9246532" y="2733197"/>
            <a:ext cx="2331720" cy="2818947"/>
          </a:xfrm>
          <a:prstGeom prst="rect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273582" indent="-273582" algn="ctr">
              <a:buFontTx/>
              <a:buNone/>
              <a:defRPr lang="ko-KR" altLang="en-US" sz="1000" baseline="0" dirty="0">
                <a:solidFill>
                  <a:schemeClr val="accent3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39" name="Text Placeholder 3">
            <a:extLst>
              <a:ext uri="{FF2B5EF4-FFF2-40B4-BE49-F238E27FC236}">
                <a16:creationId xmlns:a16="http://schemas.microsoft.com/office/drawing/2014/main" id="{F5705EDC-D0D7-43C3-AF77-46F76E76BC9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246531" y="5726508"/>
            <a:ext cx="2332191" cy="276999"/>
          </a:xfrm>
        </p:spPr>
        <p:txBody>
          <a:bodyPr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40" name="Text Placeholder 15">
            <a:extLst>
              <a:ext uri="{FF2B5EF4-FFF2-40B4-BE49-F238E27FC236}">
                <a16:creationId xmlns:a16="http://schemas.microsoft.com/office/drawing/2014/main" id="{665046A0-2F9E-4A45-A3DC-1A8077995507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246531" y="2262961"/>
            <a:ext cx="2332191" cy="347472"/>
          </a:xfrm>
        </p:spPr>
        <p:txBody>
          <a:bodyPr anchor="ctr" anchorCtr="0"/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F5713E64-52D7-4B1E-A775-FFC5675D67BC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880243" y="1704676"/>
            <a:ext cx="10698480" cy="304699"/>
          </a:xfrm>
          <a:noFill/>
        </p:spPr>
        <p:txBody>
          <a:bodyPr vert="horz" lIns="0" tIns="0" rIns="0" bIns="0" rtlCol="0" anchor="ctr" anchorCtr="0">
            <a:spAutoFit/>
          </a:bodyPr>
          <a:lstStyle>
            <a:lvl1pPr marL="0" indent="0" algn="ctr">
              <a:buFontTx/>
              <a:buNone/>
              <a:defRPr lang="en-US" sz="2200" dirty="0"/>
            </a:lvl1pPr>
          </a:lstStyle>
          <a:p>
            <a:pPr lvl="0"/>
            <a:r>
              <a:rPr lang="en-US" dirty="0"/>
              <a:t>Call out blurb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C8E0C0A8-F8B8-4AB7-BE6F-330CFF51FE14}"/>
              </a:ext>
            </a:extLst>
          </p:cNvPr>
          <p:cNvSpPr/>
          <p:nvPr userDrawn="1"/>
        </p:nvSpPr>
        <p:spPr>
          <a:xfrm>
            <a:off x="0" y="2733198"/>
            <a:ext cx="521970" cy="281894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accent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556714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ase Study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Picture Placeholder 3">
            <a:extLst>
              <a:ext uri="{FF2B5EF4-FFF2-40B4-BE49-F238E27FC236}">
                <a16:creationId xmlns:a16="http://schemas.microsoft.com/office/drawing/2014/main" id="{D5773A3F-F682-4CDF-A763-ADF830C949EE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-18951" y="98770"/>
            <a:ext cx="5833011" cy="6759230"/>
          </a:xfrm>
          <a:custGeom>
            <a:avLst/>
            <a:gdLst>
              <a:gd name="connsiteX0" fmla="*/ 0 w 12188953"/>
              <a:gd name="connsiteY0" fmla="*/ 0 h 6426200"/>
              <a:gd name="connsiteX1" fmla="*/ 12188953 w 12188953"/>
              <a:gd name="connsiteY1" fmla="*/ 0 h 6426200"/>
              <a:gd name="connsiteX2" fmla="*/ 12188953 w 12188953"/>
              <a:gd name="connsiteY2" fmla="*/ 6426200 h 6426200"/>
              <a:gd name="connsiteX3" fmla="*/ 0 w 12188953"/>
              <a:gd name="connsiteY3" fmla="*/ 6426200 h 6426200"/>
              <a:gd name="connsiteX4" fmla="*/ 0 w 12188953"/>
              <a:gd name="connsiteY4" fmla="*/ 0 h 6426200"/>
              <a:gd name="connsiteX0" fmla="*/ 0 w 12188953"/>
              <a:gd name="connsiteY0" fmla="*/ 0 h 6426200"/>
              <a:gd name="connsiteX1" fmla="*/ 12188953 w 12188953"/>
              <a:gd name="connsiteY1" fmla="*/ 0 h 6426200"/>
              <a:gd name="connsiteX2" fmla="*/ 12188953 w 12188953"/>
              <a:gd name="connsiteY2" fmla="*/ 6426200 h 6426200"/>
              <a:gd name="connsiteX3" fmla="*/ 9102853 w 12188953"/>
              <a:gd name="connsiteY3" fmla="*/ 6413500 h 6426200"/>
              <a:gd name="connsiteX4" fmla="*/ 0 w 12188953"/>
              <a:gd name="connsiteY4" fmla="*/ 6426200 h 6426200"/>
              <a:gd name="connsiteX5" fmla="*/ 0 w 12188953"/>
              <a:gd name="connsiteY5" fmla="*/ 0 h 6426200"/>
              <a:gd name="connsiteX0" fmla="*/ 0 w 12188953"/>
              <a:gd name="connsiteY0" fmla="*/ 0 h 6426200"/>
              <a:gd name="connsiteX1" fmla="*/ 12188953 w 12188953"/>
              <a:gd name="connsiteY1" fmla="*/ 0 h 6426200"/>
              <a:gd name="connsiteX2" fmla="*/ 12188953 w 12188953"/>
              <a:gd name="connsiteY2" fmla="*/ 6426200 h 6426200"/>
              <a:gd name="connsiteX3" fmla="*/ 9102853 w 12188953"/>
              <a:gd name="connsiteY3" fmla="*/ 6413500 h 6426200"/>
              <a:gd name="connsiteX4" fmla="*/ 8366253 w 12188953"/>
              <a:gd name="connsiteY4" fmla="*/ 6413500 h 6426200"/>
              <a:gd name="connsiteX5" fmla="*/ 0 w 12188953"/>
              <a:gd name="connsiteY5" fmla="*/ 6426200 h 6426200"/>
              <a:gd name="connsiteX6" fmla="*/ 0 w 12188953"/>
              <a:gd name="connsiteY6" fmla="*/ 0 h 6426200"/>
              <a:gd name="connsiteX0" fmla="*/ 0 w 12188953"/>
              <a:gd name="connsiteY0" fmla="*/ 0 h 6629400"/>
              <a:gd name="connsiteX1" fmla="*/ 12188953 w 12188953"/>
              <a:gd name="connsiteY1" fmla="*/ 0 h 6629400"/>
              <a:gd name="connsiteX2" fmla="*/ 12188953 w 12188953"/>
              <a:gd name="connsiteY2" fmla="*/ 6426200 h 6629400"/>
              <a:gd name="connsiteX3" fmla="*/ 9102853 w 12188953"/>
              <a:gd name="connsiteY3" fmla="*/ 6413500 h 6629400"/>
              <a:gd name="connsiteX4" fmla="*/ 8632953 w 12188953"/>
              <a:gd name="connsiteY4" fmla="*/ 6629400 h 6629400"/>
              <a:gd name="connsiteX5" fmla="*/ 0 w 12188953"/>
              <a:gd name="connsiteY5" fmla="*/ 6426200 h 6629400"/>
              <a:gd name="connsiteX6" fmla="*/ 0 w 12188953"/>
              <a:gd name="connsiteY6" fmla="*/ 0 h 6629400"/>
              <a:gd name="connsiteX0" fmla="*/ 12700 w 12201653"/>
              <a:gd name="connsiteY0" fmla="*/ 0 h 6629400"/>
              <a:gd name="connsiteX1" fmla="*/ 12201653 w 12201653"/>
              <a:gd name="connsiteY1" fmla="*/ 0 h 6629400"/>
              <a:gd name="connsiteX2" fmla="*/ 12201653 w 12201653"/>
              <a:gd name="connsiteY2" fmla="*/ 6426200 h 6629400"/>
              <a:gd name="connsiteX3" fmla="*/ 9115553 w 12201653"/>
              <a:gd name="connsiteY3" fmla="*/ 6413500 h 6629400"/>
              <a:gd name="connsiteX4" fmla="*/ 8645653 w 12201653"/>
              <a:gd name="connsiteY4" fmla="*/ 6629400 h 6629400"/>
              <a:gd name="connsiteX5" fmla="*/ 0 w 12201653"/>
              <a:gd name="connsiteY5" fmla="*/ 6629400 h 6629400"/>
              <a:gd name="connsiteX6" fmla="*/ 12700 w 12201653"/>
              <a:gd name="connsiteY6" fmla="*/ 0 h 6629400"/>
              <a:gd name="connsiteX0" fmla="*/ 12700 w 12201653"/>
              <a:gd name="connsiteY0" fmla="*/ 0 h 6629400"/>
              <a:gd name="connsiteX1" fmla="*/ 12201653 w 12201653"/>
              <a:gd name="connsiteY1" fmla="*/ 0 h 6629400"/>
              <a:gd name="connsiteX2" fmla="*/ 12201653 w 12201653"/>
              <a:gd name="connsiteY2" fmla="*/ 6426200 h 6629400"/>
              <a:gd name="connsiteX3" fmla="*/ 9242553 w 12201653"/>
              <a:gd name="connsiteY3" fmla="*/ 6413500 h 6629400"/>
              <a:gd name="connsiteX4" fmla="*/ 8645653 w 12201653"/>
              <a:gd name="connsiteY4" fmla="*/ 6629400 h 6629400"/>
              <a:gd name="connsiteX5" fmla="*/ 0 w 12201653"/>
              <a:gd name="connsiteY5" fmla="*/ 6629400 h 6629400"/>
              <a:gd name="connsiteX6" fmla="*/ 12700 w 12201653"/>
              <a:gd name="connsiteY6" fmla="*/ 0 h 6629400"/>
              <a:gd name="connsiteX0" fmla="*/ 12700 w 12201653"/>
              <a:gd name="connsiteY0" fmla="*/ 0 h 6642027"/>
              <a:gd name="connsiteX1" fmla="*/ 12201653 w 12201653"/>
              <a:gd name="connsiteY1" fmla="*/ 0 h 6642027"/>
              <a:gd name="connsiteX2" fmla="*/ 12201653 w 12201653"/>
              <a:gd name="connsiteY2" fmla="*/ 6426200 h 6642027"/>
              <a:gd name="connsiteX3" fmla="*/ 9242553 w 12201653"/>
              <a:gd name="connsiteY3" fmla="*/ 6413500 h 6642027"/>
              <a:gd name="connsiteX4" fmla="*/ 8671053 w 12201653"/>
              <a:gd name="connsiteY4" fmla="*/ 6642027 h 6642027"/>
              <a:gd name="connsiteX5" fmla="*/ 0 w 12201653"/>
              <a:gd name="connsiteY5" fmla="*/ 6629400 h 6642027"/>
              <a:gd name="connsiteX6" fmla="*/ 12700 w 12201653"/>
              <a:gd name="connsiteY6" fmla="*/ 0 h 6642027"/>
              <a:gd name="connsiteX0" fmla="*/ 12700 w 12201653"/>
              <a:gd name="connsiteY0" fmla="*/ 0 h 6642027"/>
              <a:gd name="connsiteX1" fmla="*/ 12201653 w 12201653"/>
              <a:gd name="connsiteY1" fmla="*/ 0 h 6642027"/>
              <a:gd name="connsiteX2" fmla="*/ 12201653 w 12201653"/>
              <a:gd name="connsiteY2" fmla="*/ 6426200 h 6642027"/>
              <a:gd name="connsiteX3" fmla="*/ 9242553 w 12201653"/>
              <a:gd name="connsiteY3" fmla="*/ 6413500 h 6642027"/>
              <a:gd name="connsiteX4" fmla="*/ 8671053 w 12201653"/>
              <a:gd name="connsiteY4" fmla="*/ 6642027 h 6642027"/>
              <a:gd name="connsiteX5" fmla="*/ 0 w 12201653"/>
              <a:gd name="connsiteY5" fmla="*/ 6629400 h 6642027"/>
              <a:gd name="connsiteX6" fmla="*/ 12700 w 12201653"/>
              <a:gd name="connsiteY6" fmla="*/ 0 h 6642027"/>
              <a:gd name="connsiteX0" fmla="*/ 50800 w 12239753"/>
              <a:gd name="connsiteY0" fmla="*/ 0 h 6654655"/>
              <a:gd name="connsiteX1" fmla="*/ 12239753 w 12239753"/>
              <a:gd name="connsiteY1" fmla="*/ 0 h 6654655"/>
              <a:gd name="connsiteX2" fmla="*/ 12239753 w 12239753"/>
              <a:gd name="connsiteY2" fmla="*/ 6426200 h 6654655"/>
              <a:gd name="connsiteX3" fmla="*/ 9280653 w 12239753"/>
              <a:gd name="connsiteY3" fmla="*/ 6413500 h 6654655"/>
              <a:gd name="connsiteX4" fmla="*/ 8709153 w 12239753"/>
              <a:gd name="connsiteY4" fmla="*/ 6642027 h 6654655"/>
              <a:gd name="connsiteX5" fmla="*/ 0 w 12239753"/>
              <a:gd name="connsiteY5" fmla="*/ 6654655 h 6654655"/>
              <a:gd name="connsiteX6" fmla="*/ 50800 w 12239753"/>
              <a:gd name="connsiteY6" fmla="*/ 0 h 6654655"/>
              <a:gd name="connsiteX0" fmla="*/ 50800 w 12239753"/>
              <a:gd name="connsiteY0" fmla="*/ 12627 h 6667282"/>
              <a:gd name="connsiteX1" fmla="*/ 6143753 w 12239753"/>
              <a:gd name="connsiteY1" fmla="*/ 0 h 6667282"/>
              <a:gd name="connsiteX2" fmla="*/ 12239753 w 12239753"/>
              <a:gd name="connsiteY2" fmla="*/ 6438827 h 6667282"/>
              <a:gd name="connsiteX3" fmla="*/ 9280653 w 12239753"/>
              <a:gd name="connsiteY3" fmla="*/ 6426127 h 6667282"/>
              <a:gd name="connsiteX4" fmla="*/ 8709153 w 12239753"/>
              <a:gd name="connsiteY4" fmla="*/ 6654654 h 6667282"/>
              <a:gd name="connsiteX5" fmla="*/ 0 w 12239753"/>
              <a:gd name="connsiteY5" fmla="*/ 6667282 h 6667282"/>
              <a:gd name="connsiteX6" fmla="*/ 50800 w 12239753"/>
              <a:gd name="connsiteY6" fmla="*/ 12627 h 6667282"/>
              <a:gd name="connsiteX0" fmla="*/ 50800 w 9280653"/>
              <a:gd name="connsiteY0" fmla="*/ 12627 h 6667282"/>
              <a:gd name="connsiteX1" fmla="*/ 6143753 w 9280653"/>
              <a:gd name="connsiteY1" fmla="*/ 0 h 6667282"/>
              <a:gd name="connsiteX2" fmla="*/ 9280653 w 9280653"/>
              <a:gd name="connsiteY2" fmla="*/ 6426127 h 6667282"/>
              <a:gd name="connsiteX3" fmla="*/ 8709153 w 9280653"/>
              <a:gd name="connsiteY3" fmla="*/ 6654654 h 6667282"/>
              <a:gd name="connsiteX4" fmla="*/ 0 w 9280653"/>
              <a:gd name="connsiteY4" fmla="*/ 6667282 h 6667282"/>
              <a:gd name="connsiteX5" fmla="*/ 50800 w 9280653"/>
              <a:gd name="connsiteY5" fmla="*/ 12627 h 6667282"/>
              <a:gd name="connsiteX0" fmla="*/ 50800 w 8709153"/>
              <a:gd name="connsiteY0" fmla="*/ 12627 h 6667282"/>
              <a:gd name="connsiteX1" fmla="*/ 6143753 w 8709153"/>
              <a:gd name="connsiteY1" fmla="*/ 0 h 6667282"/>
              <a:gd name="connsiteX2" fmla="*/ 8709153 w 8709153"/>
              <a:gd name="connsiteY2" fmla="*/ 6654654 h 6667282"/>
              <a:gd name="connsiteX3" fmla="*/ 0 w 8709153"/>
              <a:gd name="connsiteY3" fmla="*/ 6667282 h 6667282"/>
              <a:gd name="connsiteX4" fmla="*/ 50800 w 8709153"/>
              <a:gd name="connsiteY4" fmla="*/ 12627 h 6667282"/>
              <a:gd name="connsiteX0" fmla="*/ 50800 w 6181853"/>
              <a:gd name="connsiteY0" fmla="*/ 12627 h 6667282"/>
              <a:gd name="connsiteX1" fmla="*/ 6143753 w 6181853"/>
              <a:gd name="connsiteY1" fmla="*/ 0 h 6667282"/>
              <a:gd name="connsiteX2" fmla="*/ 6181853 w 6181853"/>
              <a:gd name="connsiteY2" fmla="*/ 6667282 h 6667282"/>
              <a:gd name="connsiteX3" fmla="*/ 0 w 6181853"/>
              <a:gd name="connsiteY3" fmla="*/ 6667282 h 6667282"/>
              <a:gd name="connsiteX4" fmla="*/ 50800 w 6181853"/>
              <a:gd name="connsiteY4" fmla="*/ 12627 h 6667282"/>
              <a:gd name="connsiteX0" fmla="*/ 50800 w 6181853"/>
              <a:gd name="connsiteY0" fmla="*/ 12627 h 6667282"/>
              <a:gd name="connsiteX1" fmla="*/ 6143753 w 6181853"/>
              <a:gd name="connsiteY1" fmla="*/ 0 h 6667282"/>
              <a:gd name="connsiteX2" fmla="*/ 6181853 w 6181853"/>
              <a:gd name="connsiteY2" fmla="*/ 6667282 h 6667282"/>
              <a:gd name="connsiteX3" fmla="*/ 0 w 6181853"/>
              <a:gd name="connsiteY3" fmla="*/ 6667282 h 6667282"/>
              <a:gd name="connsiteX4" fmla="*/ 50800 w 6181853"/>
              <a:gd name="connsiteY4" fmla="*/ 12627 h 6667282"/>
              <a:gd name="connsiteX0" fmla="*/ 720 w 6190083"/>
              <a:gd name="connsiteY0" fmla="*/ 12627 h 6667282"/>
              <a:gd name="connsiteX1" fmla="*/ 6151983 w 6190083"/>
              <a:gd name="connsiteY1" fmla="*/ 0 h 6667282"/>
              <a:gd name="connsiteX2" fmla="*/ 6190083 w 6190083"/>
              <a:gd name="connsiteY2" fmla="*/ 6667282 h 6667282"/>
              <a:gd name="connsiteX3" fmla="*/ 8230 w 6190083"/>
              <a:gd name="connsiteY3" fmla="*/ 6667282 h 6667282"/>
              <a:gd name="connsiteX4" fmla="*/ 720 w 6190083"/>
              <a:gd name="connsiteY4" fmla="*/ 12627 h 6667282"/>
              <a:gd name="connsiteX0" fmla="*/ 720 w 6190083"/>
              <a:gd name="connsiteY0" fmla="*/ 12627 h 6667282"/>
              <a:gd name="connsiteX1" fmla="*/ 6151983 w 6190083"/>
              <a:gd name="connsiteY1" fmla="*/ 0 h 6667282"/>
              <a:gd name="connsiteX2" fmla="*/ 6186537 w 6190083"/>
              <a:gd name="connsiteY2" fmla="*/ 530294 h 6667282"/>
              <a:gd name="connsiteX3" fmla="*/ 6190083 w 6190083"/>
              <a:gd name="connsiteY3" fmla="*/ 6667282 h 6667282"/>
              <a:gd name="connsiteX4" fmla="*/ 8230 w 6190083"/>
              <a:gd name="connsiteY4" fmla="*/ 6667282 h 6667282"/>
              <a:gd name="connsiteX5" fmla="*/ 720 w 6190083"/>
              <a:gd name="connsiteY5" fmla="*/ 12627 h 6667282"/>
              <a:gd name="connsiteX0" fmla="*/ 720 w 6190083"/>
              <a:gd name="connsiteY0" fmla="*/ 0 h 6654655"/>
              <a:gd name="connsiteX1" fmla="*/ 5731178 w 6190083"/>
              <a:gd name="connsiteY1" fmla="*/ 17406 h 6654655"/>
              <a:gd name="connsiteX2" fmla="*/ 6186537 w 6190083"/>
              <a:gd name="connsiteY2" fmla="*/ 517667 h 6654655"/>
              <a:gd name="connsiteX3" fmla="*/ 6190083 w 6190083"/>
              <a:gd name="connsiteY3" fmla="*/ 6654655 h 6654655"/>
              <a:gd name="connsiteX4" fmla="*/ 8230 w 6190083"/>
              <a:gd name="connsiteY4" fmla="*/ 6654655 h 6654655"/>
              <a:gd name="connsiteX5" fmla="*/ 720 w 6190083"/>
              <a:gd name="connsiteY5" fmla="*/ 0 h 6654655"/>
              <a:gd name="connsiteX0" fmla="*/ 720 w 6190083"/>
              <a:gd name="connsiteY0" fmla="*/ 5119 h 6659774"/>
              <a:gd name="connsiteX1" fmla="*/ 5731178 w 6190083"/>
              <a:gd name="connsiteY1" fmla="*/ 0 h 6659774"/>
              <a:gd name="connsiteX2" fmla="*/ 6186537 w 6190083"/>
              <a:gd name="connsiteY2" fmla="*/ 522786 h 6659774"/>
              <a:gd name="connsiteX3" fmla="*/ 6190083 w 6190083"/>
              <a:gd name="connsiteY3" fmla="*/ 6659774 h 6659774"/>
              <a:gd name="connsiteX4" fmla="*/ 8230 w 6190083"/>
              <a:gd name="connsiteY4" fmla="*/ 6659774 h 6659774"/>
              <a:gd name="connsiteX5" fmla="*/ 720 w 6190083"/>
              <a:gd name="connsiteY5" fmla="*/ 5119 h 6659774"/>
              <a:gd name="connsiteX0" fmla="*/ 720 w 6190083"/>
              <a:gd name="connsiteY0" fmla="*/ 5119 h 6659774"/>
              <a:gd name="connsiteX1" fmla="*/ 5731178 w 6190083"/>
              <a:gd name="connsiteY1" fmla="*/ 0 h 6659774"/>
              <a:gd name="connsiteX2" fmla="*/ 6186537 w 6190083"/>
              <a:gd name="connsiteY2" fmla="*/ 485245 h 6659774"/>
              <a:gd name="connsiteX3" fmla="*/ 6190083 w 6190083"/>
              <a:gd name="connsiteY3" fmla="*/ 6659774 h 6659774"/>
              <a:gd name="connsiteX4" fmla="*/ 8230 w 6190083"/>
              <a:gd name="connsiteY4" fmla="*/ 6659774 h 6659774"/>
              <a:gd name="connsiteX5" fmla="*/ 720 w 6190083"/>
              <a:gd name="connsiteY5" fmla="*/ 5119 h 6659774"/>
              <a:gd name="connsiteX0" fmla="*/ 720 w 6194629"/>
              <a:gd name="connsiteY0" fmla="*/ 5119 h 6659774"/>
              <a:gd name="connsiteX1" fmla="*/ 5731178 w 6194629"/>
              <a:gd name="connsiteY1" fmla="*/ 0 h 6659774"/>
              <a:gd name="connsiteX2" fmla="*/ 6194629 w 6194629"/>
              <a:gd name="connsiteY2" fmla="*/ 440195 h 6659774"/>
              <a:gd name="connsiteX3" fmla="*/ 6190083 w 6194629"/>
              <a:gd name="connsiteY3" fmla="*/ 6659774 h 6659774"/>
              <a:gd name="connsiteX4" fmla="*/ 8230 w 6194629"/>
              <a:gd name="connsiteY4" fmla="*/ 6659774 h 6659774"/>
              <a:gd name="connsiteX5" fmla="*/ 720 w 6194629"/>
              <a:gd name="connsiteY5" fmla="*/ 5119 h 66597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194629" h="6659774">
                <a:moveTo>
                  <a:pt x="720" y="5119"/>
                </a:moveTo>
                <a:lnTo>
                  <a:pt x="5731178" y="0"/>
                </a:lnTo>
                <a:lnTo>
                  <a:pt x="6194629" y="440195"/>
                </a:lnTo>
                <a:cubicBezTo>
                  <a:pt x="6193114" y="2513388"/>
                  <a:pt x="6191598" y="4586581"/>
                  <a:pt x="6190083" y="6659774"/>
                </a:cubicBezTo>
                <a:lnTo>
                  <a:pt x="8230" y="6659774"/>
                </a:lnTo>
                <a:cubicBezTo>
                  <a:pt x="12463" y="4449974"/>
                  <a:pt x="-3513" y="2214919"/>
                  <a:pt x="720" y="5119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bIns="640080" anchor="ctr"/>
          <a:lstStyle>
            <a:lvl1pPr marL="0" indent="0" algn="ctr">
              <a:buNone/>
              <a:defRPr sz="16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9" name="Text Placeholder 33"/>
          <p:cNvSpPr>
            <a:spLocks noGrp="1"/>
          </p:cNvSpPr>
          <p:nvPr>
            <p:ph type="body" sz="quarter" idx="18" hasCustomPrompt="1"/>
          </p:nvPr>
        </p:nvSpPr>
        <p:spPr>
          <a:xfrm>
            <a:off x="-11279" y="4615198"/>
            <a:ext cx="3653537" cy="1249154"/>
          </a:xfrm>
          <a:custGeom>
            <a:avLst/>
            <a:gdLst>
              <a:gd name="connsiteX0" fmla="*/ 0 w 7790688"/>
              <a:gd name="connsiteY0" fmla="*/ 1495912 h 1495912"/>
              <a:gd name="connsiteX1" fmla="*/ 449537 w 7790688"/>
              <a:gd name="connsiteY1" fmla="*/ 0 h 1495912"/>
              <a:gd name="connsiteX2" fmla="*/ 7790688 w 7790688"/>
              <a:gd name="connsiteY2" fmla="*/ 0 h 1495912"/>
              <a:gd name="connsiteX3" fmla="*/ 7341151 w 7790688"/>
              <a:gd name="connsiteY3" fmla="*/ 1495912 h 1495912"/>
              <a:gd name="connsiteX4" fmla="*/ 0 w 7790688"/>
              <a:gd name="connsiteY4" fmla="*/ 1495912 h 1495912"/>
              <a:gd name="connsiteX0" fmla="*/ 0 w 7790688"/>
              <a:gd name="connsiteY0" fmla="*/ 1495912 h 1495912"/>
              <a:gd name="connsiteX1" fmla="*/ 4818337 w 7790688"/>
              <a:gd name="connsiteY1" fmla="*/ 25400 h 1495912"/>
              <a:gd name="connsiteX2" fmla="*/ 7790688 w 7790688"/>
              <a:gd name="connsiteY2" fmla="*/ 0 h 1495912"/>
              <a:gd name="connsiteX3" fmla="*/ 7341151 w 7790688"/>
              <a:gd name="connsiteY3" fmla="*/ 1495912 h 1495912"/>
              <a:gd name="connsiteX4" fmla="*/ 0 w 7790688"/>
              <a:gd name="connsiteY4" fmla="*/ 1495912 h 1495912"/>
              <a:gd name="connsiteX0" fmla="*/ 0 w 2990088"/>
              <a:gd name="connsiteY0" fmla="*/ 1521312 h 1521312"/>
              <a:gd name="connsiteX1" fmla="*/ 17737 w 2990088"/>
              <a:gd name="connsiteY1" fmla="*/ 25400 h 1521312"/>
              <a:gd name="connsiteX2" fmla="*/ 2990088 w 2990088"/>
              <a:gd name="connsiteY2" fmla="*/ 0 h 1521312"/>
              <a:gd name="connsiteX3" fmla="*/ 2540551 w 2990088"/>
              <a:gd name="connsiteY3" fmla="*/ 1495912 h 1521312"/>
              <a:gd name="connsiteX4" fmla="*/ 0 w 2990088"/>
              <a:gd name="connsiteY4" fmla="*/ 1521312 h 1521312"/>
              <a:gd name="connsiteX0" fmla="*/ 0 w 2990088"/>
              <a:gd name="connsiteY0" fmla="*/ 1521312 h 1521312"/>
              <a:gd name="connsiteX1" fmla="*/ 93937 w 2990088"/>
              <a:gd name="connsiteY1" fmla="*/ 25400 h 1521312"/>
              <a:gd name="connsiteX2" fmla="*/ 2990088 w 2990088"/>
              <a:gd name="connsiteY2" fmla="*/ 0 h 1521312"/>
              <a:gd name="connsiteX3" fmla="*/ 2540551 w 2990088"/>
              <a:gd name="connsiteY3" fmla="*/ 1495912 h 1521312"/>
              <a:gd name="connsiteX4" fmla="*/ 0 w 2990088"/>
              <a:gd name="connsiteY4" fmla="*/ 1521312 h 1521312"/>
              <a:gd name="connsiteX0" fmla="*/ 7663 w 2896151"/>
              <a:gd name="connsiteY0" fmla="*/ 1521312 h 1521312"/>
              <a:gd name="connsiteX1" fmla="*/ 0 w 2896151"/>
              <a:gd name="connsiteY1" fmla="*/ 25400 h 1521312"/>
              <a:gd name="connsiteX2" fmla="*/ 2896151 w 2896151"/>
              <a:gd name="connsiteY2" fmla="*/ 0 h 1521312"/>
              <a:gd name="connsiteX3" fmla="*/ 2446614 w 2896151"/>
              <a:gd name="connsiteY3" fmla="*/ 1495912 h 1521312"/>
              <a:gd name="connsiteX4" fmla="*/ 7663 w 2896151"/>
              <a:gd name="connsiteY4" fmla="*/ 1521312 h 1521312"/>
              <a:gd name="connsiteX0" fmla="*/ 743 w 2889231"/>
              <a:gd name="connsiteY0" fmla="*/ 1521312 h 1521312"/>
              <a:gd name="connsiteX1" fmla="*/ 700 w 2889231"/>
              <a:gd name="connsiteY1" fmla="*/ 2540 h 1521312"/>
              <a:gd name="connsiteX2" fmla="*/ 2889231 w 2889231"/>
              <a:gd name="connsiteY2" fmla="*/ 0 h 1521312"/>
              <a:gd name="connsiteX3" fmla="*/ 2439694 w 2889231"/>
              <a:gd name="connsiteY3" fmla="*/ 1495912 h 1521312"/>
              <a:gd name="connsiteX4" fmla="*/ 743 w 2889231"/>
              <a:gd name="connsiteY4" fmla="*/ 1521312 h 1521312"/>
              <a:gd name="connsiteX0" fmla="*/ 15283 w 2888531"/>
              <a:gd name="connsiteY0" fmla="*/ 1483212 h 1495912"/>
              <a:gd name="connsiteX1" fmla="*/ 0 w 2888531"/>
              <a:gd name="connsiteY1" fmla="*/ 2540 h 1495912"/>
              <a:gd name="connsiteX2" fmla="*/ 2888531 w 2888531"/>
              <a:gd name="connsiteY2" fmla="*/ 0 h 1495912"/>
              <a:gd name="connsiteX3" fmla="*/ 2438994 w 2888531"/>
              <a:gd name="connsiteY3" fmla="*/ 1495912 h 1495912"/>
              <a:gd name="connsiteX4" fmla="*/ 15283 w 2888531"/>
              <a:gd name="connsiteY4" fmla="*/ 1483212 h 1495912"/>
              <a:gd name="connsiteX0" fmla="*/ 15283 w 2888531"/>
              <a:gd name="connsiteY0" fmla="*/ 1483212 h 1495912"/>
              <a:gd name="connsiteX1" fmla="*/ 0 w 2888531"/>
              <a:gd name="connsiteY1" fmla="*/ 116840 h 1495912"/>
              <a:gd name="connsiteX2" fmla="*/ 2888531 w 2888531"/>
              <a:gd name="connsiteY2" fmla="*/ 0 h 1495912"/>
              <a:gd name="connsiteX3" fmla="*/ 2438994 w 2888531"/>
              <a:gd name="connsiteY3" fmla="*/ 1495912 h 1495912"/>
              <a:gd name="connsiteX4" fmla="*/ 15283 w 2888531"/>
              <a:gd name="connsiteY4" fmla="*/ 1483212 h 1495912"/>
              <a:gd name="connsiteX0" fmla="*/ 15283 w 2888531"/>
              <a:gd name="connsiteY0" fmla="*/ 1483212 h 1495912"/>
              <a:gd name="connsiteX1" fmla="*/ 0 w 2888531"/>
              <a:gd name="connsiteY1" fmla="*/ 116840 h 1495912"/>
              <a:gd name="connsiteX2" fmla="*/ 2598312 w 2888531"/>
              <a:gd name="connsiteY2" fmla="*/ 360 h 1495912"/>
              <a:gd name="connsiteX3" fmla="*/ 2888531 w 2888531"/>
              <a:gd name="connsiteY3" fmla="*/ 0 h 1495912"/>
              <a:gd name="connsiteX4" fmla="*/ 2438994 w 2888531"/>
              <a:gd name="connsiteY4" fmla="*/ 1495912 h 1495912"/>
              <a:gd name="connsiteX5" fmla="*/ 15283 w 2888531"/>
              <a:gd name="connsiteY5" fmla="*/ 1483212 h 1495912"/>
              <a:gd name="connsiteX0" fmla="*/ 15283 w 2888531"/>
              <a:gd name="connsiteY0" fmla="*/ 1483212 h 1495912"/>
              <a:gd name="connsiteX1" fmla="*/ 0 w 2888531"/>
              <a:gd name="connsiteY1" fmla="*/ 116840 h 1495912"/>
              <a:gd name="connsiteX2" fmla="*/ 2588787 w 2888531"/>
              <a:gd name="connsiteY2" fmla="*/ 128948 h 1495912"/>
              <a:gd name="connsiteX3" fmla="*/ 2888531 w 2888531"/>
              <a:gd name="connsiteY3" fmla="*/ 0 h 1495912"/>
              <a:gd name="connsiteX4" fmla="*/ 2438994 w 2888531"/>
              <a:gd name="connsiteY4" fmla="*/ 1495912 h 1495912"/>
              <a:gd name="connsiteX5" fmla="*/ 15283 w 2888531"/>
              <a:gd name="connsiteY5" fmla="*/ 1483212 h 1495912"/>
              <a:gd name="connsiteX0" fmla="*/ 15283 w 2802806"/>
              <a:gd name="connsiteY0" fmla="*/ 1366372 h 1379072"/>
              <a:gd name="connsiteX1" fmla="*/ 0 w 2802806"/>
              <a:gd name="connsiteY1" fmla="*/ 0 h 1379072"/>
              <a:gd name="connsiteX2" fmla="*/ 2588787 w 2802806"/>
              <a:gd name="connsiteY2" fmla="*/ 12108 h 1379072"/>
              <a:gd name="connsiteX3" fmla="*/ 2802806 w 2802806"/>
              <a:gd name="connsiteY3" fmla="*/ 97473 h 1379072"/>
              <a:gd name="connsiteX4" fmla="*/ 2438994 w 2802806"/>
              <a:gd name="connsiteY4" fmla="*/ 1379072 h 1379072"/>
              <a:gd name="connsiteX5" fmla="*/ 15283 w 2802806"/>
              <a:gd name="connsiteY5" fmla="*/ 1366372 h 1379072"/>
              <a:gd name="connsiteX0" fmla="*/ 243 w 2816341"/>
              <a:gd name="connsiteY0" fmla="*/ 1356847 h 1379072"/>
              <a:gd name="connsiteX1" fmla="*/ 13535 w 2816341"/>
              <a:gd name="connsiteY1" fmla="*/ 0 h 1379072"/>
              <a:gd name="connsiteX2" fmla="*/ 2602322 w 2816341"/>
              <a:gd name="connsiteY2" fmla="*/ 12108 h 1379072"/>
              <a:gd name="connsiteX3" fmla="*/ 2816341 w 2816341"/>
              <a:gd name="connsiteY3" fmla="*/ 97473 h 1379072"/>
              <a:gd name="connsiteX4" fmla="*/ 2452529 w 2816341"/>
              <a:gd name="connsiteY4" fmla="*/ 1379072 h 1379072"/>
              <a:gd name="connsiteX5" fmla="*/ 243 w 2816341"/>
              <a:gd name="connsiteY5" fmla="*/ 1356847 h 1379072"/>
              <a:gd name="connsiteX0" fmla="*/ 243 w 2816341"/>
              <a:gd name="connsiteY0" fmla="*/ 1356847 h 1360022"/>
              <a:gd name="connsiteX1" fmla="*/ 13535 w 2816341"/>
              <a:gd name="connsiteY1" fmla="*/ 0 h 1360022"/>
              <a:gd name="connsiteX2" fmla="*/ 2602322 w 2816341"/>
              <a:gd name="connsiteY2" fmla="*/ 12108 h 1360022"/>
              <a:gd name="connsiteX3" fmla="*/ 2816341 w 2816341"/>
              <a:gd name="connsiteY3" fmla="*/ 97473 h 1360022"/>
              <a:gd name="connsiteX4" fmla="*/ 2476341 w 2816341"/>
              <a:gd name="connsiteY4" fmla="*/ 1360022 h 1360022"/>
              <a:gd name="connsiteX5" fmla="*/ 243 w 2816341"/>
              <a:gd name="connsiteY5" fmla="*/ 1356847 h 1360022"/>
              <a:gd name="connsiteX0" fmla="*/ 243 w 2816341"/>
              <a:gd name="connsiteY0" fmla="*/ 1356847 h 1369547"/>
              <a:gd name="connsiteX1" fmla="*/ 13535 w 2816341"/>
              <a:gd name="connsiteY1" fmla="*/ 0 h 1369547"/>
              <a:gd name="connsiteX2" fmla="*/ 2602322 w 2816341"/>
              <a:gd name="connsiteY2" fmla="*/ 12108 h 1369547"/>
              <a:gd name="connsiteX3" fmla="*/ 2816341 w 2816341"/>
              <a:gd name="connsiteY3" fmla="*/ 97473 h 1369547"/>
              <a:gd name="connsiteX4" fmla="*/ 2457291 w 2816341"/>
              <a:gd name="connsiteY4" fmla="*/ 1369547 h 1369547"/>
              <a:gd name="connsiteX5" fmla="*/ 243 w 2816341"/>
              <a:gd name="connsiteY5" fmla="*/ 1356847 h 1369547"/>
              <a:gd name="connsiteX0" fmla="*/ 243 w 2816341"/>
              <a:gd name="connsiteY0" fmla="*/ 1356847 h 1356847"/>
              <a:gd name="connsiteX1" fmla="*/ 13535 w 2816341"/>
              <a:gd name="connsiteY1" fmla="*/ 0 h 1356847"/>
              <a:gd name="connsiteX2" fmla="*/ 2602322 w 2816341"/>
              <a:gd name="connsiteY2" fmla="*/ 12108 h 1356847"/>
              <a:gd name="connsiteX3" fmla="*/ 2816341 w 2816341"/>
              <a:gd name="connsiteY3" fmla="*/ 97473 h 1356847"/>
              <a:gd name="connsiteX4" fmla="*/ 2481103 w 2816341"/>
              <a:gd name="connsiteY4" fmla="*/ 1245722 h 1356847"/>
              <a:gd name="connsiteX5" fmla="*/ 243 w 2816341"/>
              <a:gd name="connsiteY5" fmla="*/ 1356847 h 1356847"/>
              <a:gd name="connsiteX0" fmla="*/ 321 w 2811656"/>
              <a:gd name="connsiteY0" fmla="*/ 1252072 h 1252072"/>
              <a:gd name="connsiteX1" fmla="*/ 8850 w 2811656"/>
              <a:gd name="connsiteY1" fmla="*/ 0 h 1252072"/>
              <a:gd name="connsiteX2" fmla="*/ 2597637 w 2811656"/>
              <a:gd name="connsiteY2" fmla="*/ 12108 h 1252072"/>
              <a:gd name="connsiteX3" fmla="*/ 2811656 w 2811656"/>
              <a:gd name="connsiteY3" fmla="*/ 97473 h 1252072"/>
              <a:gd name="connsiteX4" fmla="*/ 2476418 w 2811656"/>
              <a:gd name="connsiteY4" fmla="*/ 1245722 h 1252072"/>
              <a:gd name="connsiteX5" fmla="*/ 321 w 2811656"/>
              <a:gd name="connsiteY5" fmla="*/ 1252072 h 1252072"/>
              <a:gd name="connsiteX0" fmla="*/ 321 w 3675256"/>
              <a:gd name="connsiteY0" fmla="*/ 1252072 h 1252072"/>
              <a:gd name="connsiteX1" fmla="*/ 8850 w 3675256"/>
              <a:gd name="connsiteY1" fmla="*/ 0 h 1252072"/>
              <a:gd name="connsiteX2" fmla="*/ 2597637 w 3675256"/>
              <a:gd name="connsiteY2" fmla="*/ 12108 h 1252072"/>
              <a:gd name="connsiteX3" fmla="*/ 3675256 w 3675256"/>
              <a:gd name="connsiteY3" fmla="*/ 260033 h 1252072"/>
              <a:gd name="connsiteX4" fmla="*/ 2476418 w 3675256"/>
              <a:gd name="connsiteY4" fmla="*/ 1245722 h 1252072"/>
              <a:gd name="connsiteX5" fmla="*/ 321 w 3675256"/>
              <a:gd name="connsiteY5" fmla="*/ 1252072 h 1252072"/>
              <a:gd name="connsiteX0" fmla="*/ 321 w 3675256"/>
              <a:gd name="connsiteY0" fmla="*/ 1252072 h 1252072"/>
              <a:gd name="connsiteX1" fmla="*/ 8850 w 3675256"/>
              <a:gd name="connsiteY1" fmla="*/ 0 h 1252072"/>
              <a:gd name="connsiteX2" fmla="*/ 2597637 w 3675256"/>
              <a:gd name="connsiteY2" fmla="*/ 12108 h 1252072"/>
              <a:gd name="connsiteX3" fmla="*/ 3675256 w 3675256"/>
              <a:gd name="connsiteY3" fmla="*/ 260033 h 1252072"/>
              <a:gd name="connsiteX4" fmla="*/ 3014898 w 3675256"/>
              <a:gd name="connsiteY4" fmla="*/ 1250802 h 1252072"/>
              <a:gd name="connsiteX5" fmla="*/ 321 w 3675256"/>
              <a:gd name="connsiteY5" fmla="*/ 1252072 h 1252072"/>
              <a:gd name="connsiteX0" fmla="*/ 321 w 3675256"/>
              <a:gd name="connsiteY0" fmla="*/ 1252072 h 1252072"/>
              <a:gd name="connsiteX1" fmla="*/ 8850 w 3675256"/>
              <a:gd name="connsiteY1" fmla="*/ 0 h 1252072"/>
              <a:gd name="connsiteX2" fmla="*/ 2597637 w 3675256"/>
              <a:gd name="connsiteY2" fmla="*/ 12108 h 1252072"/>
              <a:gd name="connsiteX3" fmla="*/ 3074839 w 3675256"/>
              <a:gd name="connsiteY3" fmla="*/ 107040 h 1252072"/>
              <a:gd name="connsiteX4" fmla="*/ 3675256 w 3675256"/>
              <a:gd name="connsiteY4" fmla="*/ 260033 h 1252072"/>
              <a:gd name="connsiteX5" fmla="*/ 3014898 w 3675256"/>
              <a:gd name="connsiteY5" fmla="*/ 1250802 h 1252072"/>
              <a:gd name="connsiteX6" fmla="*/ 321 w 3675256"/>
              <a:gd name="connsiteY6" fmla="*/ 1252072 h 1252072"/>
              <a:gd name="connsiteX0" fmla="*/ 321 w 3675256"/>
              <a:gd name="connsiteY0" fmla="*/ 1252072 h 1252072"/>
              <a:gd name="connsiteX1" fmla="*/ 8850 w 3675256"/>
              <a:gd name="connsiteY1" fmla="*/ 0 h 1252072"/>
              <a:gd name="connsiteX2" fmla="*/ 2597637 w 3675256"/>
              <a:gd name="connsiteY2" fmla="*/ 12108 h 1252072"/>
              <a:gd name="connsiteX3" fmla="*/ 3151039 w 3675256"/>
              <a:gd name="connsiteY3" fmla="*/ 269600 h 1252072"/>
              <a:gd name="connsiteX4" fmla="*/ 3675256 w 3675256"/>
              <a:gd name="connsiteY4" fmla="*/ 260033 h 1252072"/>
              <a:gd name="connsiteX5" fmla="*/ 3014898 w 3675256"/>
              <a:gd name="connsiteY5" fmla="*/ 1250802 h 1252072"/>
              <a:gd name="connsiteX6" fmla="*/ 321 w 3675256"/>
              <a:gd name="connsiteY6" fmla="*/ 1252072 h 1252072"/>
              <a:gd name="connsiteX0" fmla="*/ 459 w 3675394"/>
              <a:gd name="connsiteY0" fmla="*/ 1247477 h 1247477"/>
              <a:gd name="connsiteX1" fmla="*/ 4393 w 3675394"/>
              <a:gd name="connsiteY1" fmla="*/ 0 h 1247477"/>
              <a:gd name="connsiteX2" fmla="*/ 2597775 w 3675394"/>
              <a:gd name="connsiteY2" fmla="*/ 7513 h 1247477"/>
              <a:gd name="connsiteX3" fmla="*/ 3151177 w 3675394"/>
              <a:gd name="connsiteY3" fmla="*/ 265005 h 1247477"/>
              <a:gd name="connsiteX4" fmla="*/ 3675394 w 3675394"/>
              <a:gd name="connsiteY4" fmla="*/ 255438 h 1247477"/>
              <a:gd name="connsiteX5" fmla="*/ 3015036 w 3675394"/>
              <a:gd name="connsiteY5" fmla="*/ 1246207 h 1247477"/>
              <a:gd name="connsiteX6" fmla="*/ 459 w 3675394"/>
              <a:gd name="connsiteY6" fmla="*/ 1247477 h 1247477"/>
              <a:gd name="connsiteX0" fmla="*/ 0 w 3674935"/>
              <a:gd name="connsiteY0" fmla="*/ 1247477 h 1247477"/>
              <a:gd name="connsiteX1" fmla="*/ 3934 w 3674935"/>
              <a:gd name="connsiteY1" fmla="*/ 0 h 1247477"/>
              <a:gd name="connsiteX2" fmla="*/ 2597316 w 3674935"/>
              <a:gd name="connsiteY2" fmla="*/ 7513 h 1247477"/>
              <a:gd name="connsiteX3" fmla="*/ 3150718 w 3674935"/>
              <a:gd name="connsiteY3" fmla="*/ 265005 h 1247477"/>
              <a:gd name="connsiteX4" fmla="*/ 3674935 w 3674935"/>
              <a:gd name="connsiteY4" fmla="*/ 255438 h 1247477"/>
              <a:gd name="connsiteX5" fmla="*/ 3014577 w 3674935"/>
              <a:gd name="connsiteY5" fmla="*/ 1246207 h 1247477"/>
              <a:gd name="connsiteX6" fmla="*/ 0 w 3674935"/>
              <a:gd name="connsiteY6" fmla="*/ 1247477 h 1247477"/>
              <a:gd name="connsiteX0" fmla="*/ 0 w 3674935"/>
              <a:gd name="connsiteY0" fmla="*/ 1249154 h 1249154"/>
              <a:gd name="connsiteX1" fmla="*/ 3934 w 3674935"/>
              <a:gd name="connsiteY1" fmla="*/ 1677 h 1249154"/>
              <a:gd name="connsiteX2" fmla="*/ 2601911 w 3674935"/>
              <a:gd name="connsiteY2" fmla="*/ 0 h 1249154"/>
              <a:gd name="connsiteX3" fmla="*/ 3150718 w 3674935"/>
              <a:gd name="connsiteY3" fmla="*/ 266682 h 1249154"/>
              <a:gd name="connsiteX4" fmla="*/ 3674935 w 3674935"/>
              <a:gd name="connsiteY4" fmla="*/ 257115 h 1249154"/>
              <a:gd name="connsiteX5" fmla="*/ 3014577 w 3674935"/>
              <a:gd name="connsiteY5" fmla="*/ 1247884 h 1249154"/>
              <a:gd name="connsiteX6" fmla="*/ 0 w 3674935"/>
              <a:gd name="connsiteY6" fmla="*/ 1249154 h 1249154"/>
              <a:gd name="connsiteX0" fmla="*/ 0 w 3661150"/>
              <a:gd name="connsiteY0" fmla="*/ 1249154 h 1249154"/>
              <a:gd name="connsiteX1" fmla="*/ 3934 w 3661150"/>
              <a:gd name="connsiteY1" fmla="*/ 1677 h 1249154"/>
              <a:gd name="connsiteX2" fmla="*/ 2601911 w 3661150"/>
              <a:gd name="connsiteY2" fmla="*/ 0 h 1249154"/>
              <a:gd name="connsiteX3" fmla="*/ 3150718 w 3661150"/>
              <a:gd name="connsiteY3" fmla="*/ 266682 h 1249154"/>
              <a:gd name="connsiteX4" fmla="*/ 3661150 w 3661150"/>
              <a:gd name="connsiteY4" fmla="*/ 257115 h 1249154"/>
              <a:gd name="connsiteX5" fmla="*/ 3014577 w 3661150"/>
              <a:gd name="connsiteY5" fmla="*/ 1247884 h 1249154"/>
              <a:gd name="connsiteX6" fmla="*/ 0 w 3661150"/>
              <a:gd name="connsiteY6" fmla="*/ 1249154 h 1249154"/>
              <a:gd name="connsiteX0" fmla="*/ 0 w 3656555"/>
              <a:gd name="connsiteY0" fmla="*/ 1249154 h 1249154"/>
              <a:gd name="connsiteX1" fmla="*/ 3934 w 3656555"/>
              <a:gd name="connsiteY1" fmla="*/ 1677 h 1249154"/>
              <a:gd name="connsiteX2" fmla="*/ 2601911 w 3656555"/>
              <a:gd name="connsiteY2" fmla="*/ 0 h 1249154"/>
              <a:gd name="connsiteX3" fmla="*/ 3150718 w 3656555"/>
              <a:gd name="connsiteY3" fmla="*/ 266682 h 1249154"/>
              <a:gd name="connsiteX4" fmla="*/ 3656555 w 3656555"/>
              <a:gd name="connsiteY4" fmla="*/ 275495 h 1249154"/>
              <a:gd name="connsiteX5" fmla="*/ 3014577 w 3656555"/>
              <a:gd name="connsiteY5" fmla="*/ 1247884 h 1249154"/>
              <a:gd name="connsiteX6" fmla="*/ 0 w 3656555"/>
              <a:gd name="connsiteY6" fmla="*/ 1249154 h 1249154"/>
              <a:gd name="connsiteX0" fmla="*/ 0 w 3656555"/>
              <a:gd name="connsiteY0" fmla="*/ 1249154 h 1249154"/>
              <a:gd name="connsiteX1" fmla="*/ 3934 w 3656555"/>
              <a:gd name="connsiteY1" fmla="*/ 1677 h 1249154"/>
              <a:gd name="connsiteX2" fmla="*/ 2601911 w 3656555"/>
              <a:gd name="connsiteY2" fmla="*/ 0 h 1249154"/>
              <a:gd name="connsiteX3" fmla="*/ 3150718 w 3656555"/>
              <a:gd name="connsiteY3" fmla="*/ 266682 h 1249154"/>
              <a:gd name="connsiteX4" fmla="*/ 3656555 w 3656555"/>
              <a:gd name="connsiteY4" fmla="*/ 275495 h 1249154"/>
              <a:gd name="connsiteX5" fmla="*/ 3014577 w 3656555"/>
              <a:gd name="connsiteY5" fmla="*/ 1247884 h 1249154"/>
              <a:gd name="connsiteX6" fmla="*/ 0 w 3656555"/>
              <a:gd name="connsiteY6" fmla="*/ 1249154 h 1249154"/>
              <a:gd name="connsiteX0" fmla="*/ 0 w 3656555"/>
              <a:gd name="connsiteY0" fmla="*/ 1249154 h 1249154"/>
              <a:gd name="connsiteX1" fmla="*/ 3934 w 3656555"/>
              <a:gd name="connsiteY1" fmla="*/ 1677 h 1249154"/>
              <a:gd name="connsiteX2" fmla="*/ 2601911 w 3656555"/>
              <a:gd name="connsiteY2" fmla="*/ 0 h 1249154"/>
              <a:gd name="connsiteX3" fmla="*/ 3150718 w 3656555"/>
              <a:gd name="connsiteY3" fmla="*/ 266682 h 1249154"/>
              <a:gd name="connsiteX4" fmla="*/ 3656555 w 3656555"/>
              <a:gd name="connsiteY4" fmla="*/ 269460 h 1249154"/>
              <a:gd name="connsiteX5" fmla="*/ 3014577 w 3656555"/>
              <a:gd name="connsiteY5" fmla="*/ 1247884 h 1249154"/>
              <a:gd name="connsiteX6" fmla="*/ 0 w 3656555"/>
              <a:gd name="connsiteY6" fmla="*/ 1249154 h 1249154"/>
              <a:gd name="connsiteX0" fmla="*/ 0 w 3653537"/>
              <a:gd name="connsiteY0" fmla="*/ 1249154 h 1249154"/>
              <a:gd name="connsiteX1" fmla="*/ 3934 w 3653537"/>
              <a:gd name="connsiteY1" fmla="*/ 1677 h 1249154"/>
              <a:gd name="connsiteX2" fmla="*/ 2601911 w 3653537"/>
              <a:gd name="connsiteY2" fmla="*/ 0 h 1249154"/>
              <a:gd name="connsiteX3" fmla="*/ 3150718 w 3653537"/>
              <a:gd name="connsiteY3" fmla="*/ 266682 h 1249154"/>
              <a:gd name="connsiteX4" fmla="*/ 3653537 w 3653537"/>
              <a:gd name="connsiteY4" fmla="*/ 269460 h 1249154"/>
              <a:gd name="connsiteX5" fmla="*/ 3014577 w 3653537"/>
              <a:gd name="connsiteY5" fmla="*/ 1247884 h 1249154"/>
              <a:gd name="connsiteX6" fmla="*/ 0 w 3653537"/>
              <a:gd name="connsiteY6" fmla="*/ 1249154 h 1249154"/>
              <a:gd name="connsiteX0" fmla="*/ 0 w 3653537"/>
              <a:gd name="connsiteY0" fmla="*/ 1249154 h 1249154"/>
              <a:gd name="connsiteX1" fmla="*/ 3934 w 3653537"/>
              <a:gd name="connsiteY1" fmla="*/ 1677 h 1249154"/>
              <a:gd name="connsiteX2" fmla="*/ 2601911 w 3653537"/>
              <a:gd name="connsiteY2" fmla="*/ 0 h 1249154"/>
              <a:gd name="connsiteX3" fmla="*/ 3150718 w 3653537"/>
              <a:gd name="connsiteY3" fmla="*/ 266682 h 1249154"/>
              <a:gd name="connsiteX4" fmla="*/ 3653537 w 3653537"/>
              <a:gd name="connsiteY4" fmla="*/ 269460 h 1249154"/>
              <a:gd name="connsiteX5" fmla="*/ 3020612 w 3653537"/>
              <a:gd name="connsiteY5" fmla="*/ 1244866 h 1249154"/>
              <a:gd name="connsiteX6" fmla="*/ 0 w 3653537"/>
              <a:gd name="connsiteY6" fmla="*/ 1249154 h 12491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653537" h="1249154">
                <a:moveTo>
                  <a:pt x="0" y="1249154"/>
                </a:moveTo>
                <a:cubicBezTo>
                  <a:pt x="1311" y="833328"/>
                  <a:pt x="2623" y="417503"/>
                  <a:pt x="3934" y="1677"/>
                </a:cubicBezTo>
                <a:lnTo>
                  <a:pt x="2601911" y="0"/>
                </a:lnTo>
                <a:lnTo>
                  <a:pt x="3150718" y="266682"/>
                </a:lnTo>
                <a:lnTo>
                  <a:pt x="3653537" y="269460"/>
                </a:lnTo>
                <a:lnTo>
                  <a:pt x="3020612" y="1244866"/>
                </a:lnTo>
                <a:lnTo>
                  <a:pt x="0" y="1249154"/>
                </a:lnTo>
                <a:close/>
              </a:path>
            </a:pathLst>
          </a:custGeom>
          <a:gradFill>
            <a:gsLst>
              <a:gs pos="0">
                <a:schemeClr val="bg2">
                  <a:lumMod val="75000"/>
                  <a:alpha val="85000"/>
                </a:schemeClr>
              </a:gs>
              <a:gs pos="100000">
                <a:schemeClr val="bg2">
                  <a:alpha val="85000"/>
                </a:schemeClr>
              </a:gs>
            </a:gsLst>
            <a:lin ang="5400000" scaled="0"/>
          </a:gradFill>
          <a:ln w="19050">
            <a:noFill/>
          </a:ln>
        </p:spPr>
        <p:txBody>
          <a:bodyPr vert="horz" lIns="454941" tIns="37851" rIns="75702" bIns="72790" rtlCol="0" anchor="ctr" anchorCtr="0">
            <a:noAutofit/>
          </a:bodyPr>
          <a:lstStyle>
            <a:lvl1pPr marL="342900" indent="-342900">
              <a:buFontTx/>
              <a:buNone/>
              <a:defRPr lang="en-US" sz="1094" dirty="0">
                <a:solidFill>
                  <a:srgbClr val="424949"/>
                </a:solidFill>
              </a:defRPr>
            </a:lvl1pPr>
          </a:lstStyle>
          <a:p>
            <a:pPr marL="0" lvl="0" indent="0" algn="ctr">
              <a:buNone/>
            </a:pPr>
            <a:r>
              <a:rPr lang="en-US" dirty="0"/>
              <a:t> </a:t>
            </a:r>
          </a:p>
        </p:txBody>
      </p:sp>
      <p:sp>
        <p:nvSpPr>
          <p:cNvPr id="14" name="Text Placeholder 33">
            <a:extLst>
              <a:ext uri="{FF2B5EF4-FFF2-40B4-BE49-F238E27FC236}">
                <a16:creationId xmlns:a16="http://schemas.microsoft.com/office/drawing/2014/main" id="{B1ED78A0-A56B-4703-A84F-DDB45C4928AA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-12466" y="4882452"/>
            <a:ext cx="5344068" cy="1070462"/>
          </a:xfrm>
          <a:custGeom>
            <a:avLst/>
            <a:gdLst>
              <a:gd name="connsiteX0" fmla="*/ 0 w 2926080"/>
              <a:gd name="connsiteY0" fmla="*/ 1495912 h 1495912"/>
              <a:gd name="connsiteX1" fmla="*/ 449537 w 2926080"/>
              <a:gd name="connsiteY1" fmla="*/ 0 h 1495912"/>
              <a:gd name="connsiteX2" fmla="*/ 2926080 w 2926080"/>
              <a:gd name="connsiteY2" fmla="*/ 0 h 1495912"/>
              <a:gd name="connsiteX3" fmla="*/ 2476543 w 2926080"/>
              <a:gd name="connsiteY3" fmla="*/ 1495912 h 1495912"/>
              <a:gd name="connsiteX4" fmla="*/ 0 w 2926080"/>
              <a:gd name="connsiteY4" fmla="*/ 1495912 h 1495912"/>
              <a:gd name="connsiteX0" fmla="*/ 0 w 2926080"/>
              <a:gd name="connsiteY0" fmla="*/ 1495912 h 1495912"/>
              <a:gd name="connsiteX1" fmla="*/ 449537 w 2926080"/>
              <a:gd name="connsiteY1" fmla="*/ 0 h 1495912"/>
              <a:gd name="connsiteX2" fmla="*/ 2926080 w 2926080"/>
              <a:gd name="connsiteY2" fmla="*/ 0 h 1495912"/>
              <a:gd name="connsiteX3" fmla="*/ 2918503 w 2926080"/>
              <a:gd name="connsiteY3" fmla="*/ 1038712 h 1495912"/>
              <a:gd name="connsiteX4" fmla="*/ 0 w 2926080"/>
              <a:gd name="connsiteY4" fmla="*/ 1495912 h 1495912"/>
              <a:gd name="connsiteX0" fmla="*/ 0 w 2606040"/>
              <a:gd name="connsiteY0" fmla="*/ 1114912 h 1114912"/>
              <a:gd name="connsiteX1" fmla="*/ 129497 w 2606040"/>
              <a:gd name="connsiteY1" fmla="*/ 0 h 1114912"/>
              <a:gd name="connsiteX2" fmla="*/ 2606040 w 2606040"/>
              <a:gd name="connsiteY2" fmla="*/ 0 h 1114912"/>
              <a:gd name="connsiteX3" fmla="*/ 2598463 w 2606040"/>
              <a:gd name="connsiteY3" fmla="*/ 1038712 h 1114912"/>
              <a:gd name="connsiteX4" fmla="*/ 0 w 2606040"/>
              <a:gd name="connsiteY4" fmla="*/ 1114912 h 1114912"/>
              <a:gd name="connsiteX0" fmla="*/ 0 w 2606040"/>
              <a:gd name="connsiteY0" fmla="*/ 1114912 h 1114912"/>
              <a:gd name="connsiteX1" fmla="*/ 921977 w 2606040"/>
              <a:gd name="connsiteY1" fmla="*/ 0 h 1114912"/>
              <a:gd name="connsiteX2" fmla="*/ 2606040 w 2606040"/>
              <a:gd name="connsiteY2" fmla="*/ 0 h 1114912"/>
              <a:gd name="connsiteX3" fmla="*/ 2598463 w 2606040"/>
              <a:gd name="connsiteY3" fmla="*/ 1038712 h 1114912"/>
              <a:gd name="connsiteX4" fmla="*/ 0 w 2606040"/>
              <a:gd name="connsiteY4" fmla="*/ 1114912 h 1114912"/>
              <a:gd name="connsiteX0" fmla="*/ 0 w 2606040"/>
              <a:gd name="connsiteY0" fmla="*/ 1114912 h 1114912"/>
              <a:gd name="connsiteX1" fmla="*/ 441220 w 2606040"/>
              <a:gd name="connsiteY1" fmla="*/ 596328 h 1114912"/>
              <a:gd name="connsiteX2" fmla="*/ 921977 w 2606040"/>
              <a:gd name="connsiteY2" fmla="*/ 0 h 1114912"/>
              <a:gd name="connsiteX3" fmla="*/ 2606040 w 2606040"/>
              <a:gd name="connsiteY3" fmla="*/ 0 h 1114912"/>
              <a:gd name="connsiteX4" fmla="*/ 2598463 w 2606040"/>
              <a:gd name="connsiteY4" fmla="*/ 1038712 h 1114912"/>
              <a:gd name="connsiteX5" fmla="*/ 0 w 2606040"/>
              <a:gd name="connsiteY5" fmla="*/ 1114912 h 1114912"/>
              <a:gd name="connsiteX0" fmla="*/ 0 w 2606040"/>
              <a:gd name="connsiteY0" fmla="*/ 1114912 h 1114912"/>
              <a:gd name="connsiteX1" fmla="*/ 357400 w 2606040"/>
              <a:gd name="connsiteY1" fmla="*/ 916368 h 1114912"/>
              <a:gd name="connsiteX2" fmla="*/ 921977 w 2606040"/>
              <a:gd name="connsiteY2" fmla="*/ 0 h 1114912"/>
              <a:gd name="connsiteX3" fmla="*/ 2606040 w 2606040"/>
              <a:gd name="connsiteY3" fmla="*/ 0 h 1114912"/>
              <a:gd name="connsiteX4" fmla="*/ 2598463 w 2606040"/>
              <a:gd name="connsiteY4" fmla="*/ 1038712 h 1114912"/>
              <a:gd name="connsiteX5" fmla="*/ 0 w 2606040"/>
              <a:gd name="connsiteY5" fmla="*/ 1114912 h 1114912"/>
              <a:gd name="connsiteX0" fmla="*/ 0 w 2606040"/>
              <a:gd name="connsiteY0" fmla="*/ 1114912 h 1114912"/>
              <a:gd name="connsiteX1" fmla="*/ 357400 w 2606040"/>
              <a:gd name="connsiteY1" fmla="*/ 916368 h 1114912"/>
              <a:gd name="connsiteX2" fmla="*/ 174520 w 2606040"/>
              <a:gd name="connsiteY2" fmla="*/ 1015428 h 1114912"/>
              <a:gd name="connsiteX3" fmla="*/ 921977 w 2606040"/>
              <a:gd name="connsiteY3" fmla="*/ 0 h 1114912"/>
              <a:gd name="connsiteX4" fmla="*/ 2606040 w 2606040"/>
              <a:gd name="connsiteY4" fmla="*/ 0 h 1114912"/>
              <a:gd name="connsiteX5" fmla="*/ 2598463 w 2606040"/>
              <a:gd name="connsiteY5" fmla="*/ 1038712 h 1114912"/>
              <a:gd name="connsiteX6" fmla="*/ 0 w 2606040"/>
              <a:gd name="connsiteY6" fmla="*/ 1114912 h 1114912"/>
              <a:gd name="connsiteX0" fmla="*/ 0 w 2606040"/>
              <a:gd name="connsiteY0" fmla="*/ 1114912 h 1114912"/>
              <a:gd name="connsiteX1" fmla="*/ 357400 w 2606040"/>
              <a:gd name="connsiteY1" fmla="*/ 916368 h 1114912"/>
              <a:gd name="connsiteX2" fmla="*/ 428520 w 2606040"/>
              <a:gd name="connsiteY2" fmla="*/ 744495 h 1114912"/>
              <a:gd name="connsiteX3" fmla="*/ 921977 w 2606040"/>
              <a:gd name="connsiteY3" fmla="*/ 0 h 1114912"/>
              <a:gd name="connsiteX4" fmla="*/ 2606040 w 2606040"/>
              <a:gd name="connsiteY4" fmla="*/ 0 h 1114912"/>
              <a:gd name="connsiteX5" fmla="*/ 2598463 w 2606040"/>
              <a:gd name="connsiteY5" fmla="*/ 1038712 h 1114912"/>
              <a:gd name="connsiteX6" fmla="*/ 0 w 2606040"/>
              <a:gd name="connsiteY6" fmla="*/ 1114912 h 1114912"/>
              <a:gd name="connsiteX0" fmla="*/ 0 w 2606040"/>
              <a:gd name="connsiteY0" fmla="*/ 1114912 h 1114912"/>
              <a:gd name="connsiteX1" fmla="*/ 160973 w 2606040"/>
              <a:gd name="connsiteY1" fmla="*/ 1018815 h 1114912"/>
              <a:gd name="connsiteX2" fmla="*/ 357400 w 2606040"/>
              <a:gd name="connsiteY2" fmla="*/ 916368 h 1114912"/>
              <a:gd name="connsiteX3" fmla="*/ 428520 w 2606040"/>
              <a:gd name="connsiteY3" fmla="*/ 744495 h 1114912"/>
              <a:gd name="connsiteX4" fmla="*/ 921977 w 2606040"/>
              <a:gd name="connsiteY4" fmla="*/ 0 h 1114912"/>
              <a:gd name="connsiteX5" fmla="*/ 2606040 w 2606040"/>
              <a:gd name="connsiteY5" fmla="*/ 0 h 1114912"/>
              <a:gd name="connsiteX6" fmla="*/ 2598463 w 2606040"/>
              <a:gd name="connsiteY6" fmla="*/ 1038712 h 1114912"/>
              <a:gd name="connsiteX7" fmla="*/ 0 w 2606040"/>
              <a:gd name="connsiteY7" fmla="*/ 1114912 h 1114912"/>
              <a:gd name="connsiteX0" fmla="*/ 0 w 5342890"/>
              <a:gd name="connsiteY0" fmla="*/ 1070462 h 1070462"/>
              <a:gd name="connsiteX1" fmla="*/ 2897823 w 5342890"/>
              <a:gd name="connsiteY1" fmla="*/ 1018815 h 1070462"/>
              <a:gd name="connsiteX2" fmla="*/ 3094250 w 5342890"/>
              <a:gd name="connsiteY2" fmla="*/ 916368 h 1070462"/>
              <a:gd name="connsiteX3" fmla="*/ 3165370 w 5342890"/>
              <a:gd name="connsiteY3" fmla="*/ 744495 h 1070462"/>
              <a:gd name="connsiteX4" fmla="*/ 3658827 w 5342890"/>
              <a:gd name="connsiteY4" fmla="*/ 0 h 1070462"/>
              <a:gd name="connsiteX5" fmla="*/ 5342890 w 5342890"/>
              <a:gd name="connsiteY5" fmla="*/ 0 h 1070462"/>
              <a:gd name="connsiteX6" fmla="*/ 5335313 w 5342890"/>
              <a:gd name="connsiteY6" fmla="*/ 1038712 h 1070462"/>
              <a:gd name="connsiteX7" fmla="*/ 0 w 5342890"/>
              <a:gd name="connsiteY7" fmla="*/ 1070462 h 1070462"/>
              <a:gd name="connsiteX0" fmla="*/ 4127 w 5347017"/>
              <a:gd name="connsiteY0" fmla="*/ 1070462 h 1070462"/>
              <a:gd name="connsiteX1" fmla="*/ 0 w 5347017"/>
              <a:gd name="connsiteY1" fmla="*/ 987065 h 1070462"/>
              <a:gd name="connsiteX2" fmla="*/ 3098377 w 5347017"/>
              <a:gd name="connsiteY2" fmla="*/ 916368 h 1070462"/>
              <a:gd name="connsiteX3" fmla="*/ 3169497 w 5347017"/>
              <a:gd name="connsiteY3" fmla="*/ 744495 h 1070462"/>
              <a:gd name="connsiteX4" fmla="*/ 3662954 w 5347017"/>
              <a:gd name="connsiteY4" fmla="*/ 0 h 1070462"/>
              <a:gd name="connsiteX5" fmla="*/ 5347017 w 5347017"/>
              <a:gd name="connsiteY5" fmla="*/ 0 h 1070462"/>
              <a:gd name="connsiteX6" fmla="*/ 5339440 w 5347017"/>
              <a:gd name="connsiteY6" fmla="*/ 1038712 h 1070462"/>
              <a:gd name="connsiteX7" fmla="*/ 4127 w 5347017"/>
              <a:gd name="connsiteY7" fmla="*/ 1070462 h 1070462"/>
              <a:gd name="connsiteX0" fmla="*/ 4127 w 5347017"/>
              <a:gd name="connsiteY0" fmla="*/ 1070462 h 1070462"/>
              <a:gd name="connsiteX1" fmla="*/ 0 w 5347017"/>
              <a:gd name="connsiteY1" fmla="*/ 987065 h 1070462"/>
              <a:gd name="connsiteX2" fmla="*/ 3041227 w 5347017"/>
              <a:gd name="connsiteY2" fmla="*/ 973518 h 1070462"/>
              <a:gd name="connsiteX3" fmla="*/ 3169497 w 5347017"/>
              <a:gd name="connsiteY3" fmla="*/ 744495 h 1070462"/>
              <a:gd name="connsiteX4" fmla="*/ 3662954 w 5347017"/>
              <a:gd name="connsiteY4" fmla="*/ 0 h 1070462"/>
              <a:gd name="connsiteX5" fmla="*/ 5347017 w 5347017"/>
              <a:gd name="connsiteY5" fmla="*/ 0 h 1070462"/>
              <a:gd name="connsiteX6" fmla="*/ 5339440 w 5347017"/>
              <a:gd name="connsiteY6" fmla="*/ 1038712 h 1070462"/>
              <a:gd name="connsiteX7" fmla="*/ 4127 w 5347017"/>
              <a:gd name="connsiteY7" fmla="*/ 1070462 h 1070462"/>
              <a:gd name="connsiteX0" fmla="*/ 4127 w 5347017"/>
              <a:gd name="connsiteY0" fmla="*/ 1070462 h 1070462"/>
              <a:gd name="connsiteX1" fmla="*/ 0 w 5347017"/>
              <a:gd name="connsiteY1" fmla="*/ 987065 h 1070462"/>
              <a:gd name="connsiteX2" fmla="*/ 3041227 w 5347017"/>
              <a:gd name="connsiteY2" fmla="*/ 973518 h 1070462"/>
              <a:gd name="connsiteX3" fmla="*/ 3662954 w 5347017"/>
              <a:gd name="connsiteY3" fmla="*/ 0 h 1070462"/>
              <a:gd name="connsiteX4" fmla="*/ 5347017 w 5347017"/>
              <a:gd name="connsiteY4" fmla="*/ 0 h 1070462"/>
              <a:gd name="connsiteX5" fmla="*/ 5339440 w 5347017"/>
              <a:gd name="connsiteY5" fmla="*/ 1038712 h 1070462"/>
              <a:gd name="connsiteX6" fmla="*/ 4127 w 5347017"/>
              <a:gd name="connsiteY6" fmla="*/ 1070462 h 1070462"/>
              <a:gd name="connsiteX0" fmla="*/ 4127 w 5358753"/>
              <a:gd name="connsiteY0" fmla="*/ 1070462 h 1070462"/>
              <a:gd name="connsiteX1" fmla="*/ 0 w 5358753"/>
              <a:gd name="connsiteY1" fmla="*/ 987065 h 1070462"/>
              <a:gd name="connsiteX2" fmla="*/ 3041227 w 5358753"/>
              <a:gd name="connsiteY2" fmla="*/ 973518 h 1070462"/>
              <a:gd name="connsiteX3" fmla="*/ 3662954 w 5358753"/>
              <a:gd name="connsiteY3" fmla="*/ 0 h 1070462"/>
              <a:gd name="connsiteX4" fmla="*/ 5347017 w 5358753"/>
              <a:gd name="connsiteY4" fmla="*/ 0 h 1070462"/>
              <a:gd name="connsiteX5" fmla="*/ 5358490 w 5358753"/>
              <a:gd name="connsiteY5" fmla="*/ 1064112 h 1070462"/>
              <a:gd name="connsiteX6" fmla="*/ 4127 w 5358753"/>
              <a:gd name="connsiteY6" fmla="*/ 1070462 h 1070462"/>
              <a:gd name="connsiteX0" fmla="*/ 0 w 5354626"/>
              <a:gd name="connsiteY0" fmla="*/ 1070462 h 1070462"/>
              <a:gd name="connsiteX1" fmla="*/ 4926 w 5354626"/>
              <a:gd name="connsiteY1" fmla="*/ 987065 h 1070462"/>
              <a:gd name="connsiteX2" fmla="*/ 3037100 w 5354626"/>
              <a:gd name="connsiteY2" fmla="*/ 973518 h 1070462"/>
              <a:gd name="connsiteX3" fmla="*/ 3658827 w 5354626"/>
              <a:gd name="connsiteY3" fmla="*/ 0 h 1070462"/>
              <a:gd name="connsiteX4" fmla="*/ 5342890 w 5354626"/>
              <a:gd name="connsiteY4" fmla="*/ 0 h 1070462"/>
              <a:gd name="connsiteX5" fmla="*/ 5354363 w 5354626"/>
              <a:gd name="connsiteY5" fmla="*/ 1064112 h 1070462"/>
              <a:gd name="connsiteX6" fmla="*/ 0 w 5354626"/>
              <a:gd name="connsiteY6" fmla="*/ 1070462 h 1070462"/>
              <a:gd name="connsiteX0" fmla="*/ 1109 w 5349700"/>
              <a:gd name="connsiteY0" fmla="*/ 1070462 h 1070462"/>
              <a:gd name="connsiteX1" fmla="*/ 0 w 5349700"/>
              <a:gd name="connsiteY1" fmla="*/ 987065 h 1070462"/>
              <a:gd name="connsiteX2" fmla="*/ 3032174 w 5349700"/>
              <a:gd name="connsiteY2" fmla="*/ 973518 h 1070462"/>
              <a:gd name="connsiteX3" fmla="*/ 3653901 w 5349700"/>
              <a:gd name="connsiteY3" fmla="*/ 0 h 1070462"/>
              <a:gd name="connsiteX4" fmla="*/ 5337964 w 5349700"/>
              <a:gd name="connsiteY4" fmla="*/ 0 h 1070462"/>
              <a:gd name="connsiteX5" fmla="*/ 5349437 w 5349700"/>
              <a:gd name="connsiteY5" fmla="*/ 1064112 h 1070462"/>
              <a:gd name="connsiteX6" fmla="*/ 1109 w 5349700"/>
              <a:gd name="connsiteY6" fmla="*/ 1070462 h 1070462"/>
              <a:gd name="connsiteX0" fmla="*/ 533933 w 5882524"/>
              <a:gd name="connsiteY0" fmla="*/ 1070462 h 1070474"/>
              <a:gd name="connsiteX1" fmla="*/ 532824 w 5882524"/>
              <a:gd name="connsiteY1" fmla="*/ 987065 h 1070474"/>
              <a:gd name="connsiteX2" fmla="*/ 3564998 w 5882524"/>
              <a:gd name="connsiteY2" fmla="*/ 973518 h 1070474"/>
              <a:gd name="connsiteX3" fmla="*/ 4186725 w 5882524"/>
              <a:gd name="connsiteY3" fmla="*/ 0 h 1070474"/>
              <a:gd name="connsiteX4" fmla="*/ 5870788 w 5882524"/>
              <a:gd name="connsiteY4" fmla="*/ 0 h 1070474"/>
              <a:gd name="connsiteX5" fmla="*/ 5882261 w 5882524"/>
              <a:gd name="connsiteY5" fmla="*/ 1064112 h 1070474"/>
              <a:gd name="connsiteX6" fmla="*/ 533933 w 5882524"/>
              <a:gd name="connsiteY6" fmla="*/ 1070462 h 1070474"/>
              <a:gd name="connsiteX0" fmla="*/ 1109 w 5349700"/>
              <a:gd name="connsiteY0" fmla="*/ 1070462 h 1070462"/>
              <a:gd name="connsiteX1" fmla="*/ 0 w 5349700"/>
              <a:gd name="connsiteY1" fmla="*/ 987065 h 1070462"/>
              <a:gd name="connsiteX2" fmla="*/ 3032174 w 5349700"/>
              <a:gd name="connsiteY2" fmla="*/ 973518 h 1070462"/>
              <a:gd name="connsiteX3" fmla="*/ 3653901 w 5349700"/>
              <a:gd name="connsiteY3" fmla="*/ 0 h 1070462"/>
              <a:gd name="connsiteX4" fmla="*/ 5337964 w 5349700"/>
              <a:gd name="connsiteY4" fmla="*/ 0 h 1070462"/>
              <a:gd name="connsiteX5" fmla="*/ 5349437 w 5349700"/>
              <a:gd name="connsiteY5" fmla="*/ 1064112 h 1070462"/>
              <a:gd name="connsiteX6" fmla="*/ 1109 w 5349700"/>
              <a:gd name="connsiteY6" fmla="*/ 1070462 h 1070462"/>
              <a:gd name="connsiteX0" fmla="*/ 392406 w 5740997"/>
              <a:gd name="connsiteY0" fmla="*/ 1070462 h 1070462"/>
              <a:gd name="connsiteX1" fmla="*/ 403522 w 5740997"/>
              <a:gd name="connsiteY1" fmla="*/ 987065 h 1070462"/>
              <a:gd name="connsiteX2" fmla="*/ 3423471 w 5740997"/>
              <a:gd name="connsiteY2" fmla="*/ 973518 h 1070462"/>
              <a:gd name="connsiteX3" fmla="*/ 4045198 w 5740997"/>
              <a:gd name="connsiteY3" fmla="*/ 0 h 1070462"/>
              <a:gd name="connsiteX4" fmla="*/ 5729261 w 5740997"/>
              <a:gd name="connsiteY4" fmla="*/ 0 h 1070462"/>
              <a:gd name="connsiteX5" fmla="*/ 5740734 w 5740997"/>
              <a:gd name="connsiteY5" fmla="*/ 1064112 h 1070462"/>
              <a:gd name="connsiteX6" fmla="*/ 392406 w 5740997"/>
              <a:gd name="connsiteY6" fmla="*/ 1070462 h 1070462"/>
              <a:gd name="connsiteX0" fmla="*/ 392406 w 5740997"/>
              <a:gd name="connsiteY0" fmla="*/ 1070462 h 1070462"/>
              <a:gd name="connsiteX1" fmla="*/ 403522 w 5740997"/>
              <a:gd name="connsiteY1" fmla="*/ 987065 h 1070462"/>
              <a:gd name="connsiteX2" fmla="*/ 3423471 w 5740997"/>
              <a:gd name="connsiteY2" fmla="*/ 973518 h 1070462"/>
              <a:gd name="connsiteX3" fmla="*/ 4045198 w 5740997"/>
              <a:gd name="connsiteY3" fmla="*/ 0 h 1070462"/>
              <a:gd name="connsiteX4" fmla="*/ 5729261 w 5740997"/>
              <a:gd name="connsiteY4" fmla="*/ 0 h 1070462"/>
              <a:gd name="connsiteX5" fmla="*/ 5740734 w 5740997"/>
              <a:gd name="connsiteY5" fmla="*/ 1064112 h 1070462"/>
              <a:gd name="connsiteX6" fmla="*/ 392406 w 5740997"/>
              <a:gd name="connsiteY6" fmla="*/ 1070462 h 1070462"/>
              <a:gd name="connsiteX0" fmla="*/ 393660 w 5737361"/>
              <a:gd name="connsiteY0" fmla="*/ 1070462 h 1070462"/>
              <a:gd name="connsiteX1" fmla="*/ 399886 w 5737361"/>
              <a:gd name="connsiteY1" fmla="*/ 987065 h 1070462"/>
              <a:gd name="connsiteX2" fmla="*/ 3419835 w 5737361"/>
              <a:gd name="connsiteY2" fmla="*/ 973518 h 1070462"/>
              <a:gd name="connsiteX3" fmla="*/ 4041562 w 5737361"/>
              <a:gd name="connsiteY3" fmla="*/ 0 h 1070462"/>
              <a:gd name="connsiteX4" fmla="*/ 5725625 w 5737361"/>
              <a:gd name="connsiteY4" fmla="*/ 0 h 1070462"/>
              <a:gd name="connsiteX5" fmla="*/ 5737098 w 5737361"/>
              <a:gd name="connsiteY5" fmla="*/ 1064112 h 1070462"/>
              <a:gd name="connsiteX6" fmla="*/ 393660 w 5737361"/>
              <a:gd name="connsiteY6" fmla="*/ 1070462 h 1070462"/>
              <a:gd name="connsiteX0" fmla="*/ 0 w 5343701"/>
              <a:gd name="connsiteY0" fmla="*/ 1070462 h 1070462"/>
              <a:gd name="connsiteX1" fmla="*/ 6226 w 5343701"/>
              <a:gd name="connsiteY1" fmla="*/ 987065 h 1070462"/>
              <a:gd name="connsiteX2" fmla="*/ 3026175 w 5343701"/>
              <a:gd name="connsiteY2" fmla="*/ 973518 h 1070462"/>
              <a:gd name="connsiteX3" fmla="*/ 3647902 w 5343701"/>
              <a:gd name="connsiteY3" fmla="*/ 0 h 1070462"/>
              <a:gd name="connsiteX4" fmla="*/ 5331965 w 5343701"/>
              <a:gd name="connsiteY4" fmla="*/ 0 h 1070462"/>
              <a:gd name="connsiteX5" fmla="*/ 5343438 w 5343701"/>
              <a:gd name="connsiteY5" fmla="*/ 1064112 h 1070462"/>
              <a:gd name="connsiteX6" fmla="*/ 0 w 5343701"/>
              <a:gd name="connsiteY6" fmla="*/ 1070462 h 1070462"/>
              <a:gd name="connsiteX0" fmla="*/ 395463 w 5739164"/>
              <a:gd name="connsiteY0" fmla="*/ 1070462 h 1070462"/>
              <a:gd name="connsiteX1" fmla="*/ 396799 w 5739164"/>
              <a:gd name="connsiteY1" fmla="*/ 984620 h 1070462"/>
              <a:gd name="connsiteX2" fmla="*/ 3421638 w 5739164"/>
              <a:gd name="connsiteY2" fmla="*/ 973518 h 1070462"/>
              <a:gd name="connsiteX3" fmla="*/ 4043365 w 5739164"/>
              <a:gd name="connsiteY3" fmla="*/ 0 h 1070462"/>
              <a:gd name="connsiteX4" fmla="*/ 5727428 w 5739164"/>
              <a:gd name="connsiteY4" fmla="*/ 0 h 1070462"/>
              <a:gd name="connsiteX5" fmla="*/ 5738901 w 5739164"/>
              <a:gd name="connsiteY5" fmla="*/ 1064112 h 1070462"/>
              <a:gd name="connsiteX6" fmla="*/ 395463 w 5739164"/>
              <a:gd name="connsiteY6" fmla="*/ 1070462 h 1070462"/>
              <a:gd name="connsiteX0" fmla="*/ 395463 w 5739164"/>
              <a:gd name="connsiteY0" fmla="*/ 1070462 h 1070462"/>
              <a:gd name="connsiteX1" fmla="*/ 396799 w 5739164"/>
              <a:gd name="connsiteY1" fmla="*/ 987065 h 1070462"/>
              <a:gd name="connsiteX2" fmla="*/ 3421638 w 5739164"/>
              <a:gd name="connsiteY2" fmla="*/ 973518 h 1070462"/>
              <a:gd name="connsiteX3" fmla="*/ 4043365 w 5739164"/>
              <a:gd name="connsiteY3" fmla="*/ 0 h 1070462"/>
              <a:gd name="connsiteX4" fmla="*/ 5727428 w 5739164"/>
              <a:gd name="connsiteY4" fmla="*/ 0 h 1070462"/>
              <a:gd name="connsiteX5" fmla="*/ 5738901 w 5739164"/>
              <a:gd name="connsiteY5" fmla="*/ 1064112 h 1070462"/>
              <a:gd name="connsiteX6" fmla="*/ 395463 w 5739164"/>
              <a:gd name="connsiteY6" fmla="*/ 1070462 h 1070462"/>
              <a:gd name="connsiteX0" fmla="*/ 532222 w 5875923"/>
              <a:gd name="connsiteY0" fmla="*/ 1070462 h 1070462"/>
              <a:gd name="connsiteX1" fmla="*/ 533558 w 5875923"/>
              <a:gd name="connsiteY1" fmla="*/ 987065 h 1070462"/>
              <a:gd name="connsiteX2" fmla="*/ 3558397 w 5875923"/>
              <a:gd name="connsiteY2" fmla="*/ 973518 h 1070462"/>
              <a:gd name="connsiteX3" fmla="*/ 4180124 w 5875923"/>
              <a:gd name="connsiteY3" fmla="*/ 0 h 1070462"/>
              <a:gd name="connsiteX4" fmla="*/ 5864187 w 5875923"/>
              <a:gd name="connsiteY4" fmla="*/ 0 h 1070462"/>
              <a:gd name="connsiteX5" fmla="*/ 5875660 w 5875923"/>
              <a:gd name="connsiteY5" fmla="*/ 1064112 h 1070462"/>
              <a:gd name="connsiteX6" fmla="*/ 532222 w 5875923"/>
              <a:gd name="connsiteY6" fmla="*/ 1070462 h 1070462"/>
              <a:gd name="connsiteX0" fmla="*/ 0 w 5343701"/>
              <a:gd name="connsiteY0" fmla="*/ 1070462 h 1070462"/>
              <a:gd name="connsiteX1" fmla="*/ 1336 w 5343701"/>
              <a:gd name="connsiteY1" fmla="*/ 987065 h 1070462"/>
              <a:gd name="connsiteX2" fmla="*/ 3026175 w 5343701"/>
              <a:gd name="connsiteY2" fmla="*/ 973518 h 1070462"/>
              <a:gd name="connsiteX3" fmla="*/ 3647902 w 5343701"/>
              <a:gd name="connsiteY3" fmla="*/ 0 h 1070462"/>
              <a:gd name="connsiteX4" fmla="*/ 5331965 w 5343701"/>
              <a:gd name="connsiteY4" fmla="*/ 0 h 1070462"/>
              <a:gd name="connsiteX5" fmla="*/ 5343438 w 5343701"/>
              <a:gd name="connsiteY5" fmla="*/ 1064112 h 1070462"/>
              <a:gd name="connsiteX6" fmla="*/ 0 w 5343701"/>
              <a:gd name="connsiteY6" fmla="*/ 1070462 h 1070462"/>
              <a:gd name="connsiteX0" fmla="*/ 0 w 5344068"/>
              <a:gd name="connsiteY0" fmla="*/ 1070462 h 1070462"/>
              <a:gd name="connsiteX1" fmla="*/ 1336 w 5344068"/>
              <a:gd name="connsiteY1" fmla="*/ 987065 h 1070462"/>
              <a:gd name="connsiteX2" fmla="*/ 3026175 w 5344068"/>
              <a:gd name="connsiteY2" fmla="*/ 973518 h 1070462"/>
              <a:gd name="connsiteX3" fmla="*/ 3647902 w 5344068"/>
              <a:gd name="connsiteY3" fmla="*/ 0 h 1070462"/>
              <a:gd name="connsiteX4" fmla="*/ 5342445 w 5344068"/>
              <a:gd name="connsiteY4" fmla="*/ 0 h 1070462"/>
              <a:gd name="connsiteX5" fmla="*/ 5343438 w 5344068"/>
              <a:gd name="connsiteY5" fmla="*/ 1064112 h 1070462"/>
              <a:gd name="connsiteX6" fmla="*/ 0 w 5344068"/>
              <a:gd name="connsiteY6" fmla="*/ 1070462 h 1070462"/>
              <a:gd name="connsiteX0" fmla="*/ 395463 w 5739531"/>
              <a:gd name="connsiteY0" fmla="*/ 1070462 h 1070462"/>
              <a:gd name="connsiteX1" fmla="*/ 396799 w 5739531"/>
              <a:gd name="connsiteY1" fmla="*/ 983923 h 1070462"/>
              <a:gd name="connsiteX2" fmla="*/ 3421638 w 5739531"/>
              <a:gd name="connsiteY2" fmla="*/ 973518 h 1070462"/>
              <a:gd name="connsiteX3" fmla="*/ 4043365 w 5739531"/>
              <a:gd name="connsiteY3" fmla="*/ 0 h 1070462"/>
              <a:gd name="connsiteX4" fmla="*/ 5737908 w 5739531"/>
              <a:gd name="connsiteY4" fmla="*/ 0 h 1070462"/>
              <a:gd name="connsiteX5" fmla="*/ 5738901 w 5739531"/>
              <a:gd name="connsiteY5" fmla="*/ 1064112 h 1070462"/>
              <a:gd name="connsiteX6" fmla="*/ 395463 w 5739531"/>
              <a:gd name="connsiteY6" fmla="*/ 1070462 h 1070462"/>
              <a:gd name="connsiteX0" fmla="*/ 395463 w 5739531"/>
              <a:gd name="connsiteY0" fmla="*/ 1070462 h 1070462"/>
              <a:gd name="connsiteX1" fmla="*/ 396799 w 5739531"/>
              <a:gd name="connsiteY1" fmla="*/ 974496 h 1070462"/>
              <a:gd name="connsiteX2" fmla="*/ 3421638 w 5739531"/>
              <a:gd name="connsiteY2" fmla="*/ 973518 h 1070462"/>
              <a:gd name="connsiteX3" fmla="*/ 4043365 w 5739531"/>
              <a:gd name="connsiteY3" fmla="*/ 0 h 1070462"/>
              <a:gd name="connsiteX4" fmla="*/ 5737908 w 5739531"/>
              <a:gd name="connsiteY4" fmla="*/ 0 h 1070462"/>
              <a:gd name="connsiteX5" fmla="*/ 5738901 w 5739531"/>
              <a:gd name="connsiteY5" fmla="*/ 1064112 h 1070462"/>
              <a:gd name="connsiteX6" fmla="*/ 395463 w 5739531"/>
              <a:gd name="connsiteY6" fmla="*/ 1070462 h 1070462"/>
              <a:gd name="connsiteX0" fmla="*/ 0 w 5344068"/>
              <a:gd name="connsiteY0" fmla="*/ 1070462 h 1070462"/>
              <a:gd name="connsiteX1" fmla="*/ 1336 w 5344068"/>
              <a:gd name="connsiteY1" fmla="*/ 974496 h 1070462"/>
              <a:gd name="connsiteX2" fmla="*/ 3026175 w 5344068"/>
              <a:gd name="connsiteY2" fmla="*/ 973518 h 1070462"/>
              <a:gd name="connsiteX3" fmla="*/ 3647902 w 5344068"/>
              <a:gd name="connsiteY3" fmla="*/ 0 h 1070462"/>
              <a:gd name="connsiteX4" fmla="*/ 5342445 w 5344068"/>
              <a:gd name="connsiteY4" fmla="*/ 0 h 1070462"/>
              <a:gd name="connsiteX5" fmla="*/ 5343438 w 5344068"/>
              <a:gd name="connsiteY5" fmla="*/ 1064112 h 1070462"/>
              <a:gd name="connsiteX6" fmla="*/ 0 w 5344068"/>
              <a:gd name="connsiteY6" fmla="*/ 1070462 h 10704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344068" h="1070462">
                <a:moveTo>
                  <a:pt x="0" y="1070462"/>
                </a:moveTo>
                <a:cubicBezTo>
                  <a:pt x="445" y="1038473"/>
                  <a:pt x="891" y="1006485"/>
                  <a:pt x="1336" y="974496"/>
                </a:cubicBezTo>
                <a:lnTo>
                  <a:pt x="3026175" y="973518"/>
                </a:lnTo>
                <a:lnTo>
                  <a:pt x="3647902" y="0"/>
                </a:lnTo>
                <a:lnTo>
                  <a:pt x="5342445" y="0"/>
                </a:lnTo>
                <a:cubicBezTo>
                  <a:pt x="5339919" y="346237"/>
                  <a:pt x="5345964" y="717875"/>
                  <a:pt x="5343438" y="1064112"/>
                </a:cubicBezTo>
                <a:lnTo>
                  <a:pt x="0" y="1070462"/>
                </a:lnTo>
                <a:close/>
              </a:path>
            </a:pathLst>
          </a:custGeom>
          <a:solidFill>
            <a:schemeClr val="bg1"/>
          </a:solidFill>
          <a:ln w="19050">
            <a:noFill/>
          </a:ln>
        </p:spPr>
        <p:txBody>
          <a:bodyPr vert="horz" lIns="454941" tIns="37851" rIns="75702" bIns="72790" rtlCol="0" anchor="b">
            <a:noAutofit/>
          </a:bodyPr>
          <a:lstStyle>
            <a:lvl1pPr marL="0" indent="0">
              <a:buNone/>
              <a:defRPr lang="en-US" sz="1094" dirty="0">
                <a:solidFill>
                  <a:schemeClr val="bg1"/>
                </a:solidFill>
                <a:latin typeface="PTCRaleway" panose="020B0503030101060003" pitchFamily="34" charset="0"/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B7EBEE7B-E80B-4767-8B19-9478781C66B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35700" y="690485"/>
            <a:ext cx="5486400" cy="369332"/>
          </a:xfrm>
        </p:spPr>
        <p:txBody>
          <a:bodyPr/>
          <a:lstStyle>
            <a:lvl1pPr>
              <a:defRPr sz="3000"/>
            </a:lvl1pPr>
          </a:lstStyle>
          <a:p>
            <a:r>
              <a:rPr lang="en-US" dirty="0"/>
              <a:t>add title – keep it brief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A65E310E-4680-4C73-838C-098522BD39DD}"/>
              </a:ext>
            </a:extLst>
          </p:cNvPr>
          <p:cNvSpPr/>
          <p:nvPr userDrawn="1"/>
        </p:nvSpPr>
        <p:spPr>
          <a:xfrm>
            <a:off x="6235700" y="389410"/>
            <a:ext cx="955563" cy="45719"/>
          </a:xfrm>
          <a:prstGeom prst="rect">
            <a:avLst/>
          </a:prstGeom>
          <a:solidFill>
            <a:srgbClr val="5AB73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 dirty="0"/>
          </a:p>
        </p:txBody>
      </p:sp>
      <p:grpSp>
        <p:nvGrpSpPr>
          <p:cNvPr id="102" name="Group 101">
            <a:extLst>
              <a:ext uri="{FF2B5EF4-FFF2-40B4-BE49-F238E27FC236}">
                <a16:creationId xmlns:a16="http://schemas.microsoft.com/office/drawing/2014/main" id="{96A1FBE7-9A49-4893-BE73-C040CC83491F}"/>
              </a:ext>
            </a:extLst>
          </p:cNvPr>
          <p:cNvGrpSpPr/>
          <p:nvPr userDrawn="1"/>
        </p:nvGrpSpPr>
        <p:grpSpPr>
          <a:xfrm flipH="1" flipV="1">
            <a:off x="5879755" y="2706256"/>
            <a:ext cx="152274" cy="3960685"/>
            <a:chOff x="5814441" y="100216"/>
            <a:chExt cx="152274" cy="3960685"/>
          </a:xfrm>
        </p:grpSpPr>
        <p:sp>
          <p:nvSpPr>
            <p:cNvPr id="61" name="Freeform: Shape 60">
              <a:extLst>
                <a:ext uri="{FF2B5EF4-FFF2-40B4-BE49-F238E27FC236}">
                  <a16:creationId xmlns:a16="http://schemas.microsoft.com/office/drawing/2014/main" id="{92D94A2C-76F2-4901-9BC7-CD95D5D65BCA}"/>
                </a:ext>
              </a:extLst>
            </p:cNvPr>
            <p:cNvSpPr/>
            <p:nvPr userDrawn="1"/>
          </p:nvSpPr>
          <p:spPr>
            <a:xfrm rot="5400000" flipH="1">
              <a:off x="4300442" y="1617453"/>
              <a:ext cx="3168650" cy="140652"/>
            </a:xfrm>
            <a:custGeom>
              <a:avLst/>
              <a:gdLst>
                <a:gd name="connsiteX0" fmla="*/ 0 w 3168650"/>
                <a:gd name="connsiteY0" fmla="*/ 140653 h 140652"/>
                <a:gd name="connsiteX1" fmla="*/ 143446 w 3168650"/>
                <a:gd name="connsiteY1" fmla="*/ 0 h 140652"/>
                <a:gd name="connsiteX2" fmla="*/ 3168650 w 3168650"/>
                <a:gd name="connsiteY2" fmla="*/ 0 h 1406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168650" h="140652">
                  <a:moveTo>
                    <a:pt x="0" y="140653"/>
                  </a:moveTo>
                  <a:lnTo>
                    <a:pt x="143446" y="0"/>
                  </a:lnTo>
                  <a:lnTo>
                    <a:pt x="3168650" y="0"/>
                  </a:lnTo>
                </a:path>
              </a:pathLst>
            </a:custGeom>
            <a:noFill/>
            <a:ln w="3175" cap="flat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10867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endParaRPr>
            </a:p>
          </p:txBody>
        </p:sp>
        <p:sp>
          <p:nvSpPr>
            <p:cNvPr id="62" name="Freeform: Shape 61">
              <a:extLst>
                <a:ext uri="{FF2B5EF4-FFF2-40B4-BE49-F238E27FC236}">
                  <a16:creationId xmlns:a16="http://schemas.microsoft.com/office/drawing/2014/main" id="{4838DB7B-C890-45AE-BA34-E7001C6689B7}"/>
                </a:ext>
              </a:extLst>
            </p:cNvPr>
            <p:cNvSpPr/>
            <p:nvPr userDrawn="1"/>
          </p:nvSpPr>
          <p:spPr>
            <a:xfrm rot="5400000" flipH="1">
              <a:off x="5894038" y="42209"/>
              <a:ext cx="6350" cy="122364"/>
            </a:xfrm>
            <a:custGeom>
              <a:avLst/>
              <a:gdLst>
                <a:gd name="connsiteX0" fmla="*/ 0 w 6350"/>
                <a:gd name="connsiteY0" fmla="*/ 122364 h 122364"/>
                <a:gd name="connsiteX1" fmla="*/ 0 w 6350"/>
                <a:gd name="connsiteY1" fmla="*/ 0 h 1223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350" h="122364">
                  <a:moveTo>
                    <a:pt x="0" y="122364"/>
                  </a:moveTo>
                  <a:lnTo>
                    <a:pt x="0" y="0"/>
                  </a:lnTo>
                </a:path>
              </a:pathLst>
            </a:custGeom>
            <a:ln w="19050" cap="flat">
              <a:solidFill>
                <a:srgbClr val="6FBE4A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10867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endParaRPr>
            </a:p>
          </p:txBody>
        </p:sp>
        <p:sp>
          <p:nvSpPr>
            <p:cNvPr id="63" name="Freeform: Shape 62">
              <a:extLst>
                <a:ext uri="{FF2B5EF4-FFF2-40B4-BE49-F238E27FC236}">
                  <a16:creationId xmlns:a16="http://schemas.microsoft.com/office/drawing/2014/main" id="{A1872235-911B-47B8-8050-8E592E13782F}"/>
                </a:ext>
              </a:extLst>
            </p:cNvPr>
            <p:cNvSpPr/>
            <p:nvPr userDrawn="1"/>
          </p:nvSpPr>
          <p:spPr>
            <a:xfrm rot="5400000" flipH="1">
              <a:off x="5839080" y="187847"/>
              <a:ext cx="43688" cy="43687"/>
            </a:xfrm>
            <a:custGeom>
              <a:avLst/>
              <a:gdLst>
                <a:gd name="connsiteX0" fmla="*/ 0 w 43688"/>
                <a:gd name="connsiteY0" fmla="*/ 0 h 43687"/>
                <a:gd name="connsiteX1" fmla="*/ 43688 w 43688"/>
                <a:gd name="connsiteY1" fmla="*/ 0 h 43687"/>
                <a:gd name="connsiteX2" fmla="*/ 43688 w 43688"/>
                <a:gd name="connsiteY2" fmla="*/ 43688 h 43687"/>
                <a:gd name="connsiteX3" fmla="*/ 0 w 43688"/>
                <a:gd name="connsiteY3" fmla="*/ 43688 h 436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688" h="43687">
                  <a:moveTo>
                    <a:pt x="0" y="0"/>
                  </a:moveTo>
                  <a:lnTo>
                    <a:pt x="43688" y="0"/>
                  </a:lnTo>
                  <a:lnTo>
                    <a:pt x="43688" y="43688"/>
                  </a:lnTo>
                  <a:lnTo>
                    <a:pt x="0" y="43688"/>
                  </a:lnTo>
                  <a:close/>
                </a:path>
              </a:pathLst>
            </a:custGeom>
            <a:noFill/>
            <a:ln w="3175" cap="flat">
              <a:solidFill>
                <a:srgbClr val="B3B3B3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10867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endParaRPr>
            </a:p>
          </p:txBody>
        </p:sp>
        <p:sp>
          <p:nvSpPr>
            <p:cNvPr id="64" name="Freeform: Shape 63">
              <a:extLst>
                <a:ext uri="{FF2B5EF4-FFF2-40B4-BE49-F238E27FC236}">
                  <a16:creationId xmlns:a16="http://schemas.microsoft.com/office/drawing/2014/main" id="{DF132B46-A4BE-4B5A-8EC2-40AF06B0B9F1}"/>
                </a:ext>
              </a:extLst>
            </p:cNvPr>
            <p:cNvSpPr/>
            <p:nvPr userDrawn="1"/>
          </p:nvSpPr>
          <p:spPr>
            <a:xfrm rot="5400000" flipH="1">
              <a:off x="5824887" y="232582"/>
              <a:ext cx="254063" cy="6350"/>
            </a:xfrm>
            <a:custGeom>
              <a:avLst/>
              <a:gdLst>
                <a:gd name="connsiteX0" fmla="*/ 0 w 254063"/>
                <a:gd name="connsiteY0" fmla="*/ 0 h 6350"/>
                <a:gd name="connsiteX1" fmla="*/ 254064 w 254063"/>
                <a:gd name="connsiteY1" fmla="*/ 0 h 63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54063" h="6350">
                  <a:moveTo>
                    <a:pt x="0" y="0"/>
                  </a:moveTo>
                  <a:lnTo>
                    <a:pt x="254064" y="0"/>
                  </a:lnTo>
                </a:path>
              </a:pathLst>
            </a:custGeom>
            <a:ln w="19050" cap="flat">
              <a:solidFill>
                <a:srgbClr val="6FBE4A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10867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endParaRPr>
            </a:p>
          </p:txBody>
        </p:sp>
        <p:grpSp>
          <p:nvGrpSpPr>
            <p:cNvPr id="65" name="Graphic 42">
              <a:extLst>
                <a:ext uri="{FF2B5EF4-FFF2-40B4-BE49-F238E27FC236}">
                  <a16:creationId xmlns:a16="http://schemas.microsoft.com/office/drawing/2014/main" id="{46262E16-46F5-4AA1-B76D-0A7704A23781}"/>
                </a:ext>
              </a:extLst>
            </p:cNvPr>
            <p:cNvGrpSpPr/>
            <p:nvPr userDrawn="1"/>
          </p:nvGrpSpPr>
          <p:grpSpPr>
            <a:xfrm rot="5400000" flipH="1">
              <a:off x="5485925" y="3580111"/>
              <a:ext cx="895032" cy="66548"/>
              <a:chOff x="7926578" y="441451"/>
              <a:chExt cx="895032" cy="66548"/>
            </a:xfrm>
            <a:solidFill>
              <a:srgbClr val="75BF43">
                <a:alpha val="57000"/>
              </a:srgbClr>
            </a:solidFill>
          </p:grpSpPr>
          <p:sp>
            <p:nvSpPr>
              <p:cNvPr id="82" name="Freeform: Shape 81">
                <a:extLst>
                  <a:ext uri="{FF2B5EF4-FFF2-40B4-BE49-F238E27FC236}">
                    <a16:creationId xmlns:a16="http://schemas.microsoft.com/office/drawing/2014/main" id="{8D267C4D-17F7-4C39-BBD4-3D66066F6FE0}"/>
                  </a:ext>
                </a:extLst>
              </p:cNvPr>
              <p:cNvSpPr/>
              <p:nvPr/>
            </p:nvSpPr>
            <p:spPr>
              <a:xfrm>
                <a:off x="8479726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3" name="Freeform: Shape 82">
                <a:extLst>
                  <a:ext uri="{FF2B5EF4-FFF2-40B4-BE49-F238E27FC236}">
                    <a16:creationId xmlns:a16="http://schemas.microsoft.com/office/drawing/2014/main" id="{761D1A02-D2E1-4370-AF43-F76B14915843}"/>
                  </a:ext>
                </a:extLst>
              </p:cNvPr>
              <p:cNvSpPr/>
              <p:nvPr/>
            </p:nvSpPr>
            <p:spPr>
              <a:xfrm>
                <a:off x="8437181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5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5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4" name="Freeform: Shape 83">
                <a:extLst>
                  <a:ext uri="{FF2B5EF4-FFF2-40B4-BE49-F238E27FC236}">
                    <a16:creationId xmlns:a16="http://schemas.microsoft.com/office/drawing/2014/main" id="{B7FB1973-B26D-49BE-807B-94562EF98491}"/>
                  </a:ext>
                </a:extLst>
              </p:cNvPr>
              <p:cNvSpPr/>
              <p:nvPr/>
            </p:nvSpPr>
            <p:spPr>
              <a:xfrm>
                <a:off x="8394636" y="441451"/>
                <a:ext cx="89281" cy="66548"/>
              </a:xfrm>
              <a:custGeom>
                <a:avLst/>
                <a:gdLst>
                  <a:gd name="connsiteX0" fmla="*/ 68707 w 89281"/>
                  <a:gd name="connsiteY0" fmla="*/ 0 h 66548"/>
                  <a:gd name="connsiteX1" fmla="*/ 0 w 89281"/>
                  <a:gd name="connsiteY1" fmla="*/ 66548 h 66548"/>
                  <a:gd name="connsiteX2" fmla="*/ 20574 w 89281"/>
                  <a:gd name="connsiteY2" fmla="*/ 66548 h 66548"/>
                  <a:gd name="connsiteX3" fmla="*/ 89281 w 89281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281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574" y="66548"/>
                    </a:lnTo>
                    <a:lnTo>
                      <a:pt x="89281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5" name="Freeform: Shape 84">
                <a:extLst>
                  <a:ext uri="{FF2B5EF4-FFF2-40B4-BE49-F238E27FC236}">
                    <a16:creationId xmlns:a16="http://schemas.microsoft.com/office/drawing/2014/main" id="{28790BCE-1A2F-4455-9398-979CFA962EEB}"/>
                  </a:ext>
                </a:extLst>
              </p:cNvPr>
              <p:cNvSpPr/>
              <p:nvPr/>
            </p:nvSpPr>
            <p:spPr>
              <a:xfrm>
                <a:off x="8352091" y="441451"/>
                <a:ext cx="89280" cy="66548"/>
              </a:xfrm>
              <a:custGeom>
                <a:avLst/>
                <a:gdLst>
                  <a:gd name="connsiteX0" fmla="*/ 68707 w 89280"/>
                  <a:gd name="connsiteY0" fmla="*/ 0 h 66548"/>
                  <a:gd name="connsiteX1" fmla="*/ 0 w 89280"/>
                  <a:gd name="connsiteY1" fmla="*/ 66548 h 66548"/>
                  <a:gd name="connsiteX2" fmla="*/ 20574 w 89280"/>
                  <a:gd name="connsiteY2" fmla="*/ 66548 h 66548"/>
                  <a:gd name="connsiteX3" fmla="*/ 89281 w 89280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280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574" y="66548"/>
                    </a:lnTo>
                    <a:lnTo>
                      <a:pt x="89281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6" name="Freeform: Shape 85">
                <a:extLst>
                  <a:ext uri="{FF2B5EF4-FFF2-40B4-BE49-F238E27FC236}">
                    <a16:creationId xmlns:a16="http://schemas.microsoft.com/office/drawing/2014/main" id="{07CF01A5-76D0-443F-B853-B3E6ABD28894}"/>
                  </a:ext>
                </a:extLst>
              </p:cNvPr>
              <p:cNvSpPr/>
              <p:nvPr/>
            </p:nvSpPr>
            <p:spPr>
              <a:xfrm>
                <a:off x="8139303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7" name="Freeform: Shape 86">
                <a:extLst>
                  <a:ext uri="{FF2B5EF4-FFF2-40B4-BE49-F238E27FC236}">
                    <a16:creationId xmlns:a16="http://schemas.microsoft.com/office/drawing/2014/main" id="{E2B9AF3D-585E-4458-82FF-6D6F42A2D8D3}"/>
                  </a:ext>
                </a:extLst>
              </p:cNvPr>
              <p:cNvSpPr/>
              <p:nvPr/>
            </p:nvSpPr>
            <p:spPr>
              <a:xfrm>
                <a:off x="8181847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5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5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8" name="Freeform: Shape 87">
                <a:extLst>
                  <a:ext uri="{FF2B5EF4-FFF2-40B4-BE49-F238E27FC236}">
                    <a16:creationId xmlns:a16="http://schemas.microsoft.com/office/drawing/2014/main" id="{F135D2F3-9B53-4DF3-84DD-20FEDAC316C4}"/>
                  </a:ext>
                </a:extLst>
              </p:cNvPr>
              <p:cNvSpPr/>
              <p:nvPr/>
            </p:nvSpPr>
            <p:spPr>
              <a:xfrm>
                <a:off x="8267001" y="441451"/>
                <a:ext cx="89280" cy="66548"/>
              </a:xfrm>
              <a:custGeom>
                <a:avLst/>
                <a:gdLst>
                  <a:gd name="connsiteX0" fmla="*/ 68643 w 89280"/>
                  <a:gd name="connsiteY0" fmla="*/ 0 h 66548"/>
                  <a:gd name="connsiteX1" fmla="*/ 0 w 89280"/>
                  <a:gd name="connsiteY1" fmla="*/ 66548 h 66548"/>
                  <a:gd name="connsiteX2" fmla="*/ 20574 w 89280"/>
                  <a:gd name="connsiteY2" fmla="*/ 66548 h 66548"/>
                  <a:gd name="connsiteX3" fmla="*/ 89281 w 89280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280" h="66548">
                    <a:moveTo>
                      <a:pt x="68643" y="0"/>
                    </a:moveTo>
                    <a:lnTo>
                      <a:pt x="0" y="66548"/>
                    </a:lnTo>
                    <a:lnTo>
                      <a:pt x="20574" y="66548"/>
                    </a:lnTo>
                    <a:lnTo>
                      <a:pt x="89281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9" name="Freeform: Shape 88">
                <a:extLst>
                  <a:ext uri="{FF2B5EF4-FFF2-40B4-BE49-F238E27FC236}">
                    <a16:creationId xmlns:a16="http://schemas.microsoft.com/office/drawing/2014/main" id="{CC275E23-A864-4ADA-93D6-5EDEF8DE705D}"/>
                  </a:ext>
                </a:extLst>
              </p:cNvPr>
              <p:cNvSpPr/>
              <p:nvPr/>
            </p:nvSpPr>
            <p:spPr>
              <a:xfrm>
                <a:off x="8224393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0" name="Freeform: Shape 89">
                <a:extLst>
                  <a:ext uri="{FF2B5EF4-FFF2-40B4-BE49-F238E27FC236}">
                    <a16:creationId xmlns:a16="http://schemas.microsoft.com/office/drawing/2014/main" id="{E6375D51-FE4B-4033-BD62-0DD5064071C1}"/>
                  </a:ext>
                </a:extLst>
              </p:cNvPr>
              <p:cNvSpPr/>
              <p:nvPr/>
            </p:nvSpPr>
            <p:spPr>
              <a:xfrm>
                <a:off x="8309546" y="441451"/>
                <a:ext cx="89281" cy="66548"/>
              </a:xfrm>
              <a:custGeom>
                <a:avLst/>
                <a:gdLst>
                  <a:gd name="connsiteX0" fmla="*/ 68644 w 89281"/>
                  <a:gd name="connsiteY0" fmla="*/ 0 h 66548"/>
                  <a:gd name="connsiteX1" fmla="*/ 0 w 89281"/>
                  <a:gd name="connsiteY1" fmla="*/ 66548 h 66548"/>
                  <a:gd name="connsiteX2" fmla="*/ 20574 w 89281"/>
                  <a:gd name="connsiteY2" fmla="*/ 66548 h 66548"/>
                  <a:gd name="connsiteX3" fmla="*/ 89281 w 89281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281" h="66548">
                    <a:moveTo>
                      <a:pt x="68644" y="0"/>
                    </a:moveTo>
                    <a:lnTo>
                      <a:pt x="0" y="66548"/>
                    </a:lnTo>
                    <a:lnTo>
                      <a:pt x="20574" y="66548"/>
                    </a:lnTo>
                    <a:lnTo>
                      <a:pt x="89281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1" name="Freeform: Shape 90">
                <a:extLst>
                  <a:ext uri="{FF2B5EF4-FFF2-40B4-BE49-F238E27FC236}">
                    <a16:creationId xmlns:a16="http://schemas.microsoft.com/office/drawing/2014/main" id="{B6C6C0CD-A604-438E-8D88-066E333C2977}"/>
                  </a:ext>
                </a:extLst>
              </p:cNvPr>
              <p:cNvSpPr/>
              <p:nvPr/>
            </p:nvSpPr>
            <p:spPr>
              <a:xfrm>
                <a:off x="8522271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5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5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2" name="Freeform: Shape 91">
                <a:extLst>
                  <a:ext uri="{FF2B5EF4-FFF2-40B4-BE49-F238E27FC236}">
                    <a16:creationId xmlns:a16="http://schemas.microsoft.com/office/drawing/2014/main" id="{8D479109-6DB0-49C3-AB38-D55B446F8F86}"/>
                  </a:ext>
                </a:extLst>
              </p:cNvPr>
              <p:cNvSpPr/>
              <p:nvPr/>
            </p:nvSpPr>
            <p:spPr>
              <a:xfrm>
                <a:off x="8693975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3" name="Freeform: Shape 92">
                <a:extLst>
                  <a:ext uri="{FF2B5EF4-FFF2-40B4-BE49-F238E27FC236}">
                    <a16:creationId xmlns:a16="http://schemas.microsoft.com/office/drawing/2014/main" id="{6E62C9AB-022D-489B-A496-77D465DD7ED0}"/>
                  </a:ext>
                </a:extLst>
              </p:cNvPr>
              <p:cNvSpPr/>
              <p:nvPr/>
            </p:nvSpPr>
            <p:spPr>
              <a:xfrm>
                <a:off x="8821610" y="508000"/>
                <a:ext cx="6350" cy="6350"/>
              </a:xfrm>
              <a:custGeom>
                <a:avLst/>
                <a:gdLst>
                  <a:gd name="connsiteX0" fmla="*/ 0 w 6350"/>
                  <a:gd name="connsiteY0" fmla="*/ 0 h 6350"/>
                  <a:gd name="connsiteX1" fmla="*/ 0 w 6350"/>
                  <a:gd name="connsiteY1" fmla="*/ 0 h 6350"/>
                  <a:gd name="connsiteX2" fmla="*/ 0 w 6350"/>
                  <a:gd name="connsiteY2" fmla="*/ 0 h 63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6350" h="6350"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4" name="Freeform: Shape 93">
                <a:extLst>
                  <a:ext uri="{FF2B5EF4-FFF2-40B4-BE49-F238E27FC236}">
                    <a16:creationId xmlns:a16="http://schemas.microsoft.com/office/drawing/2014/main" id="{51DEDD2C-6313-4BBA-BF2C-B48404513035}"/>
                  </a:ext>
                </a:extLst>
              </p:cNvPr>
              <p:cNvSpPr/>
              <p:nvPr/>
            </p:nvSpPr>
            <p:spPr>
              <a:xfrm>
                <a:off x="8564816" y="441451"/>
                <a:ext cx="90868" cy="66548"/>
              </a:xfrm>
              <a:custGeom>
                <a:avLst/>
                <a:gdLst>
                  <a:gd name="connsiteX0" fmla="*/ 68707 w 90868"/>
                  <a:gd name="connsiteY0" fmla="*/ 0 h 66548"/>
                  <a:gd name="connsiteX1" fmla="*/ 0 w 90868"/>
                  <a:gd name="connsiteY1" fmla="*/ 66548 h 66548"/>
                  <a:gd name="connsiteX2" fmla="*/ 22161 w 90868"/>
                  <a:gd name="connsiteY2" fmla="*/ 66548 h 66548"/>
                  <a:gd name="connsiteX3" fmla="*/ 90868 w 90868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0868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2161" y="66548"/>
                    </a:lnTo>
                    <a:lnTo>
                      <a:pt x="90868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5" name="Freeform: Shape 94">
                <a:extLst>
                  <a:ext uri="{FF2B5EF4-FFF2-40B4-BE49-F238E27FC236}">
                    <a16:creationId xmlns:a16="http://schemas.microsoft.com/office/drawing/2014/main" id="{63547A99-99CF-40B0-AC54-A09C351E7EBD}"/>
                  </a:ext>
                </a:extLst>
              </p:cNvPr>
              <p:cNvSpPr/>
              <p:nvPr/>
            </p:nvSpPr>
            <p:spPr>
              <a:xfrm>
                <a:off x="8651430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6" name="Freeform: Shape 95">
                <a:extLst>
                  <a:ext uri="{FF2B5EF4-FFF2-40B4-BE49-F238E27FC236}">
                    <a16:creationId xmlns:a16="http://schemas.microsoft.com/office/drawing/2014/main" id="{62E9619F-2DC2-45F2-9CE3-8D7A1DB7F9D6}"/>
                  </a:ext>
                </a:extLst>
              </p:cNvPr>
              <p:cNvSpPr/>
              <p:nvPr/>
            </p:nvSpPr>
            <p:spPr>
              <a:xfrm>
                <a:off x="8608885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5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5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7" name="Freeform: Shape 96">
                <a:extLst>
                  <a:ext uri="{FF2B5EF4-FFF2-40B4-BE49-F238E27FC236}">
                    <a16:creationId xmlns:a16="http://schemas.microsoft.com/office/drawing/2014/main" id="{445EA573-CE75-4E5A-BEDB-226A1D190A61}"/>
                  </a:ext>
                </a:extLst>
              </p:cNvPr>
              <p:cNvSpPr/>
              <p:nvPr/>
            </p:nvSpPr>
            <p:spPr>
              <a:xfrm>
                <a:off x="8096757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5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5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8" name="Freeform: Shape 97">
                <a:extLst>
                  <a:ext uri="{FF2B5EF4-FFF2-40B4-BE49-F238E27FC236}">
                    <a16:creationId xmlns:a16="http://schemas.microsoft.com/office/drawing/2014/main" id="{F8B37F39-FCE2-44C2-8BB7-DD3FF3CE5B27}"/>
                  </a:ext>
                </a:extLst>
              </p:cNvPr>
              <p:cNvSpPr/>
              <p:nvPr/>
            </p:nvSpPr>
            <p:spPr>
              <a:xfrm>
                <a:off x="8011668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9" name="Freeform: Shape 98">
                <a:extLst>
                  <a:ext uri="{FF2B5EF4-FFF2-40B4-BE49-F238E27FC236}">
                    <a16:creationId xmlns:a16="http://schemas.microsoft.com/office/drawing/2014/main" id="{6BC8E02B-2403-4B3B-A133-633F63B8440D}"/>
                  </a:ext>
                </a:extLst>
              </p:cNvPr>
              <p:cNvSpPr/>
              <p:nvPr/>
            </p:nvSpPr>
            <p:spPr>
              <a:xfrm>
                <a:off x="8054213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00" name="Freeform: Shape 99">
                <a:extLst>
                  <a:ext uri="{FF2B5EF4-FFF2-40B4-BE49-F238E27FC236}">
                    <a16:creationId xmlns:a16="http://schemas.microsoft.com/office/drawing/2014/main" id="{5E94E02B-5111-4986-B1CF-C6ECAD973AEC}"/>
                  </a:ext>
                </a:extLst>
              </p:cNvPr>
              <p:cNvSpPr/>
              <p:nvPr/>
            </p:nvSpPr>
            <p:spPr>
              <a:xfrm>
                <a:off x="7969122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5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5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01" name="Freeform: Shape 100">
                <a:extLst>
                  <a:ext uri="{FF2B5EF4-FFF2-40B4-BE49-F238E27FC236}">
                    <a16:creationId xmlns:a16="http://schemas.microsoft.com/office/drawing/2014/main" id="{85358E97-752A-4307-AD31-797C559E7A78}"/>
                  </a:ext>
                </a:extLst>
              </p:cNvPr>
              <p:cNvSpPr/>
              <p:nvPr/>
            </p:nvSpPr>
            <p:spPr>
              <a:xfrm>
                <a:off x="7926578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</p:grpSp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A548A88A-6E68-4D76-9B4D-430B1580BD5C}"/>
                </a:ext>
              </a:extLst>
            </p:cNvPr>
            <p:cNvGrpSpPr/>
            <p:nvPr userDrawn="1"/>
          </p:nvGrpSpPr>
          <p:grpSpPr>
            <a:xfrm rot="10800000">
              <a:off x="5862067" y="2566874"/>
              <a:ext cx="73151" cy="522033"/>
              <a:chOff x="5390750" y="3681616"/>
              <a:chExt cx="73151" cy="522033"/>
            </a:xfrm>
          </p:grpSpPr>
          <p:sp>
            <p:nvSpPr>
              <p:cNvPr id="75" name="Freeform: Shape 74">
                <a:extLst>
                  <a:ext uri="{FF2B5EF4-FFF2-40B4-BE49-F238E27FC236}">
                    <a16:creationId xmlns:a16="http://schemas.microsoft.com/office/drawing/2014/main" id="{47C3934B-FC7E-4798-9FC8-5815079C7AFD}"/>
                  </a:ext>
                </a:extLst>
              </p:cNvPr>
              <p:cNvSpPr/>
              <p:nvPr/>
            </p:nvSpPr>
            <p:spPr>
              <a:xfrm rot="16200000" flipH="1">
                <a:off x="5405100" y="3681616"/>
                <a:ext cx="43688" cy="43687"/>
              </a:xfrm>
              <a:custGeom>
                <a:avLst/>
                <a:gdLst>
                  <a:gd name="connsiteX0" fmla="*/ 0 w 43688"/>
                  <a:gd name="connsiteY0" fmla="*/ 0 h 43687"/>
                  <a:gd name="connsiteX1" fmla="*/ 43688 w 43688"/>
                  <a:gd name="connsiteY1" fmla="*/ 0 h 43687"/>
                  <a:gd name="connsiteX2" fmla="*/ 43688 w 43688"/>
                  <a:gd name="connsiteY2" fmla="*/ 43688 h 43687"/>
                  <a:gd name="connsiteX3" fmla="*/ 0 w 43688"/>
                  <a:gd name="connsiteY3" fmla="*/ 43688 h 436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3688" h="43687">
                    <a:moveTo>
                      <a:pt x="0" y="0"/>
                    </a:moveTo>
                    <a:lnTo>
                      <a:pt x="43688" y="0"/>
                    </a:lnTo>
                    <a:lnTo>
                      <a:pt x="43688" y="43688"/>
                    </a:lnTo>
                    <a:lnTo>
                      <a:pt x="0" y="43688"/>
                    </a:lnTo>
                    <a:close/>
                  </a:path>
                </a:pathLst>
              </a:custGeom>
              <a:noFill/>
              <a:ln w="3175" cap="flat">
                <a:solidFill>
                  <a:schemeClr val="bg1">
                    <a:lumMod val="50000"/>
                  </a:schemeClr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76" name="Freeform: Shape 75">
                <a:extLst>
                  <a:ext uri="{FF2B5EF4-FFF2-40B4-BE49-F238E27FC236}">
                    <a16:creationId xmlns:a16="http://schemas.microsoft.com/office/drawing/2014/main" id="{3EEEEC10-DB2A-437F-9301-EE9524E1169A}"/>
                  </a:ext>
                </a:extLst>
              </p:cNvPr>
              <p:cNvSpPr/>
              <p:nvPr/>
            </p:nvSpPr>
            <p:spPr>
              <a:xfrm rot="16200000" flipH="1">
                <a:off x="5426469" y="4081062"/>
                <a:ext cx="4381" cy="41656"/>
              </a:xfrm>
              <a:custGeom>
                <a:avLst/>
                <a:gdLst>
                  <a:gd name="connsiteX0" fmla="*/ 0 w 4381"/>
                  <a:gd name="connsiteY0" fmla="*/ 0 h 41656"/>
                  <a:gd name="connsiteX1" fmla="*/ 4381 w 4381"/>
                  <a:gd name="connsiteY1" fmla="*/ 0 h 41656"/>
                  <a:gd name="connsiteX2" fmla="*/ 4381 w 4381"/>
                  <a:gd name="connsiteY2" fmla="*/ 41656 h 41656"/>
                  <a:gd name="connsiteX3" fmla="*/ 0 w 4381"/>
                  <a:gd name="connsiteY3" fmla="*/ 41656 h 416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381" h="41656">
                    <a:moveTo>
                      <a:pt x="0" y="0"/>
                    </a:moveTo>
                    <a:lnTo>
                      <a:pt x="4381" y="0"/>
                    </a:lnTo>
                    <a:lnTo>
                      <a:pt x="4381" y="41656"/>
                    </a:lnTo>
                    <a:lnTo>
                      <a:pt x="0" y="41656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77" name="Freeform: Shape 76">
                <a:extLst>
                  <a:ext uri="{FF2B5EF4-FFF2-40B4-BE49-F238E27FC236}">
                    <a16:creationId xmlns:a16="http://schemas.microsoft.com/office/drawing/2014/main" id="{BD273B99-3244-412A-A286-CD68527AF4BF}"/>
                  </a:ext>
                </a:extLst>
              </p:cNvPr>
              <p:cNvSpPr/>
              <p:nvPr/>
            </p:nvSpPr>
            <p:spPr>
              <a:xfrm rot="16200000" flipH="1">
                <a:off x="5426469" y="4021394"/>
                <a:ext cx="4381" cy="41656"/>
              </a:xfrm>
              <a:custGeom>
                <a:avLst/>
                <a:gdLst>
                  <a:gd name="connsiteX0" fmla="*/ 0 w 4381"/>
                  <a:gd name="connsiteY0" fmla="*/ 0 h 41656"/>
                  <a:gd name="connsiteX1" fmla="*/ 4381 w 4381"/>
                  <a:gd name="connsiteY1" fmla="*/ 0 h 41656"/>
                  <a:gd name="connsiteX2" fmla="*/ 4381 w 4381"/>
                  <a:gd name="connsiteY2" fmla="*/ 41656 h 41656"/>
                  <a:gd name="connsiteX3" fmla="*/ 0 w 4381"/>
                  <a:gd name="connsiteY3" fmla="*/ 41656 h 416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381" h="41656">
                    <a:moveTo>
                      <a:pt x="0" y="0"/>
                    </a:moveTo>
                    <a:lnTo>
                      <a:pt x="4381" y="0"/>
                    </a:lnTo>
                    <a:lnTo>
                      <a:pt x="4381" y="41656"/>
                    </a:lnTo>
                    <a:lnTo>
                      <a:pt x="0" y="41656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78" name="Freeform: Shape 77">
                <a:extLst>
                  <a:ext uri="{FF2B5EF4-FFF2-40B4-BE49-F238E27FC236}">
                    <a16:creationId xmlns:a16="http://schemas.microsoft.com/office/drawing/2014/main" id="{962260D8-582A-41BA-B192-0F95A122BE14}"/>
                  </a:ext>
                </a:extLst>
              </p:cNvPr>
              <p:cNvSpPr/>
              <p:nvPr/>
            </p:nvSpPr>
            <p:spPr>
              <a:xfrm rot="16200000" flipH="1">
                <a:off x="5426469" y="3902056"/>
                <a:ext cx="4381" cy="41656"/>
              </a:xfrm>
              <a:custGeom>
                <a:avLst/>
                <a:gdLst>
                  <a:gd name="connsiteX0" fmla="*/ 0 w 4381"/>
                  <a:gd name="connsiteY0" fmla="*/ 0 h 41656"/>
                  <a:gd name="connsiteX1" fmla="*/ 4381 w 4381"/>
                  <a:gd name="connsiteY1" fmla="*/ 0 h 41656"/>
                  <a:gd name="connsiteX2" fmla="*/ 4381 w 4381"/>
                  <a:gd name="connsiteY2" fmla="*/ 41656 h 41656"/>
                  <a:gd name="connsiteX3" fmla="*/ 0 w 4381"/>
                  <a:gd name="connsiteY3" fmla="*/ 41656 h 416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381" h="41656">
                    <a:moveTo>
                      <a:pt x="0" y="0"/>
                    </a:moveTo>
                    <a:lnTo>
                      <a:pt x="4381" y="0"/>
                    </a:lnTo>
                    <a:lnTo>
                      <a:pt x="4381" y="41656"/>
                    </a:lnTo>
                    <a:lnTo>
                      <a:pt x="0" y="41656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79" name="Freeform: Shape 78">
                <a:extLst>
                  <a:ext uri="{FF2B5EF4-FFF2-40B4-BE49-F238E27FC236}">
                    <a16:creationId xmlns:a16="http://schemas.microsoft.com/office/drawing/2014/main" id="{51548AC6-032C-491B-AE9E-EC2BFBF35AF7}"/>
                  </a:ext>
                </a:extLst>
              </p:cNvPr>
              <p:cNvSpPr/>
              <p:nvPr/>
            </p:nvSpPr>
            <p:spPr>
              <a:xfrm rot="10800000" flipH="1">
                <a:off x="5407069" y="4165549"/>
                <a:ext cx="42418" cy="38100"/>
              </a:xfrm>
              <a:custGeom>
                <a:avLst/>
                <a:gdLst>
                  <a:gd name="connsiteX0" fmla="*/ 0 w 42418"/>
                  <a:gd name="connsiteY0" fmla="*/ 0 h 38100"/>
                  <a:gd name="connsiteX1" fmla="*/ 42418 w 42418"/>
                  <a:gd name="connsiteY1" fmla="*/ 0 h 38100"/>
                  <a:gd name="connsiteX2" fmla="*/ 42418 w 42418"/>
                  <a:gd name="connsiteY2" fmla="*/ 38100 h 38100"/>
                  <a:gd name="connsiteX3" fmla="*/ 0 w 42418"/>
                  <a:gd name="connsiteY3" fmla="*/ 38100 h 38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2418" h="38100">
                    <a:moveTo>
                      <a:pt x="0" y="0"/>
                    </a:moveTo>
                    <a:lnTo>
                      <a:pt x="42418" y="0"/>
                    </a:lnTo>
                    <a:lnTo>
                      <a:pt x="42418" y="38100"/>
                    </a:lnTo>
                    <a:lnTo>
                      <a:pt x="0" y="38100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0" name="Freeform: Shape 79">
                <a:extLst>
                  <a:ext uri="{FF2B5EF4-FFF2-40B4-BE49-F238E27FC236}">
                    <a16:creationId xmlns:a16="http://schemas.microsoft.com/office/drawing/2014/main" id="{CD562180-9EE5-4589-897E-1D6821097E15}"/>
                  </a:ext>
                </a:extLst>
              </p:cNvPr>
              <p:cNvSpPr/>
              <p:nvPr/>
            </p:nvSpPr>
            <p:spPr>
              <a:xfrm rot="16200000" flipH="1">
                <a:off x="5407387" y="3776295"/>
                <a:ext cx="39878" cy="73151"/>
              </a:xfrm>
              <a:custGeom>
                <a:avLst/>
                <a:gdLst>
                  <a:gd name="connsiteX0" fmla="*/ 39878 w 39878"/>
                  <a:gd name="connsiteY0" fmla="*/ 38671 h 73151"/>
                  <a:gd name="connsiteX1" fmla="*/ 2413 w 39878"/>
                  <a:gd name="connsiteY1" fmla="*/ 73152 h 73151"/>
                  <a:gd name="connsiteX2" fmla="*/ 0 w 39878"/>
                  <a:gd name="connsiteY2" fmla="*/ 69913 h 73151"/>
                  <a:gd name="connsiteX3" fmla="*/ 36131 w 39878"/>
                  <a:gd name="connsiteY3" fmla="*/ 36576 h 73151"/>
                  <a:gd name="connsiteX4" fmla="*/ 0 w 39878"/>
                  <a:gd name="connsiteY4" fmla="*/ 3238 h 73151"/>
                  <a:gd name="connsiteX5" fmla="*/ 2413 w 39878"/>
                  <a:gd name="connsiteY5" fmla="*/ 0 h 73151"/>
                  <a:gd name="connsiteX6" fmla="*/ 39878 w 39878"/>
                  <a:gd name="connsiteY6" fmla="*/ 34481 h 73151"/>
                  <a:gd name="connsiteX7" fmla="*/ 39878 w 39878"/>
                  <a:gd name="connsiteY7" fmla="*/ 38671 h 731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9878" h="73151">
                    <a:moveTo>
                      <a:pt x="39878" y="38671"/>
                    </a:moveTo>
                    <a:lnTo>
                      <a:pt x="2413" y="73152"/>
                    </a:lnTo>
                    <a:lnTo>
                      <a:pt x="0" y="69913"/>
                    </a:lnTo>
                    <a:lnTo>
                      <a:pt x="36131" y="36576"/>
                    </a:lnTo>
                    <a:lnTo>
                      <a:pt x="0" y="3238"/>
                    </a:lnTo>
                    <a:lnTo>
                      <a:pt x="2413" y="0"/>
                    </a:lnTo>
                    <a:lnTo>
                      <a:pt x="39878" y="34481"/>
                    </a:lnTo>
                    <a:lnTo>
                      <a:pt x="39878" y="38671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1" name="Freeform: Shape 80">
                <a:extLst>
                  <a:ext uri="{FF2B5EF4-FFF2-40B4-BE49-F238E27FC236}">
                    <a16:creationId xmlns:a16="http://schemas.microsoft.com/office/drawing/2014/main" id="{E1BCD94F-7B45-4C14-A6E5-ED070F82587D}"/>
                  </a:ext>
                </a:extLst>
              </p:cNvPr>
              <p:cNvSpPr/>
              <p:nvPr/>
            </p:nvSpPr>
            <p:spPr>
              <a:xfrm rot="16200000" flipH="1">
                <a:off x="5426469" y="3961725"/>
                <a:ext cx="4381" cy="41656"/>
              </a:xfrm>
              <a:custGeom>
                <a:avLst/>
                <a:gdLst>
                  <a:gd name="connsiteX0" fmla="*/ 0 w 4381"/>
                  <a:gd name="connsiteY0" fmla="*/ 0 h 41656"/>
                  <a:gd name="connsiteX1" fmla="*/ 4381 w 4381"/>
                  <a:gd name="connsiteY1" fmla="*/ 0 h 41656"/>
                  <a:gd name="connsiteX2" fmla="*/ 4381 w 4381"/>
                  <a:gd name="connsiteY2" fmla="*/ 41656 h 41656"/>
                  <a:gd name="connsiteX3" fmla="*/ 0 w 4381"/>
                  <a:gd name="connsiteY3" fmla="*/ 41656 h 416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381" h="41656">
                    <a:moveTo>
                      <a:pt x="0" y="0"/>
                    </a:moveTo>
                    <a:lnTo>
                      <a:pt x="4381" y="0"/>
                    </a:lnTo>
                    <a:lnTo>
                      <a:pt x="4381" y="41656"/>
                    </a:lnTo>
                    <a:lnTo>
                      <a:pt x="0" y="41656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</p:grpSp>
      </p:grpSp>
      <p:sp>
        <p:nvSpPr>
          <p:cNvPr id="104" name="Text Placeholder 103">
            <a:extLst>
              <a:ext uri="{FF2B5EF4-FFF2-40B4-BE49-F238E27FC236}">
                <a16:creationId xmlns:a16="http://schemas.microsoft.com/office/drawing/2014/main" id="{3F92D13C-3F81-42E4-AB3C-F61BBBD79BBD}"/>
              </a:ext>
            </a:extLst>
          </p:cNvPr>
          <p:cNvSpPr>
            <a:spLocks noGrp="1"/>
          </p:cNvSpPr>
          <p:nvPr userDrawn="1">
            <p:ph type="body" sz="quarter" idx="26" hasCustomPrompt="1"/>
          </p:nvPr>
        </p:nvSpPr>
        <p:spPr>
          <a:xfrm>
            <a:off x="306495" y="4725035"/>
            <a:ext cx="2967229" cy="1035050"/>
          </a:xfrm>
        </p:spPr>
        <p:txBody>
          <a:bodyPr anchor="ctr" anchorCtr="0"/>
          <a:lstStyle>
            <a:lvl1pPr marL="0" indent="0" algn="l">
              <a:spcBef>
                <a:spcPts val="0"/>
              </a:spcBef>
              <a:buFontTx/>
              <a:buNone/>
              <a:defRPr>
                <a:solidFill>
                  <a:schemeClr val="bg1"/>
                </a:solidFill>
              </a:defRPr>
            </a:lvl1pPr>
            <a:lvl2pPr marL="414337" indent="0">
              <a:buFontTx/>
              <a:buNone/>
              <a:defRPr>
                <a:solidFill>
                  <a:schemeClr val="bg1"/>
                </a:solidFill>
              </a:defRPr>
            </a:lvl2pPr>
            <a:lvl3pPr marL="762000" indent="0">
              <a:buFontTx/>
              <a:buNone/>
              <a:defRPr>
                <a:solidFill>
                  <a:schemeClr val="bg1"/>
                </a:solidFill>
              </a:defRPr>
            </a:lvl3pPr>
            <a:lvl4pPr marL="1101725" indent="0">
              <a:buFontTx/>
              <a:buNone/>
              <a:defRPr>
                <a:solidFill>
                  <a:schemeClr val="bg1"/>
                </a:solidFill>
              </a:defRPr>
            </a:lvl4pPr>
            <a:lvl5pPr marL="1417637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ase Study 2</a:t>
            </a:r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A8E0F22E-03D5-4502-8E42-6A2026C39BC5}"/>
              </a:ext>
            </a:extLst>
          </p:cNvPr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3671009" y="5036185"/>
            <a:ext cx="1472491" cy="723900"/>
          </a:xfrm>
        </p:spPr>
        <p:txBody>
          <a:bodyPr anchor="ctr" anchorCtr="0"/>
          <a:lstStyle>
            <a:lvl1pPr marL="0" indent="0" algn="ctr">
              <a:buFontTx/>
              <a:buNone/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Paste logo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AF8F5CE-15BE-4435-9208-3EFF81A3836F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6261100" y="1485898"/>
            <a:ext cx="5486400" cy="4982692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/>
            </a:lvl2pPr>
            <a:lvl3pPr>
              <a:defRPr/>
            </a:lvl3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6" name="Freeform: Shape 105">
            <a:extLst>
              <a:ext uri="{FF2B5EF4-FFF2-40B4-BE49-F238E27FC236}">
                <a16:creationId xmlns:a16="http://schemas.microsoft.com/office/drawing/2014/main" id="{12BF1681-5E87-48F4-BB8F-930B0A275A4C}"/>
              </a:ext>
            </a:extLst>
          </p:cNvPr>
          <p:cNvSpPr/>
          <p:nvPr userDrawn="1"/>
        </p:nvSpPr>
        <p:spPr>
          <a:xfrm>
            <a:off x="10586568" y="2762"/>
            <a:ext cx="702181" cy="675861"/>
          </a:xfrm>
          <a:custGeom>
            <a:avLst/>
            <a:gdLst>
              <a:gd name="connsiteX0" fmla="*/ 219875 w 702181"/>
              <a:gd name="connsiteY0" fmla="*/ 0 h 675861"/>
              <a:gd name="connsiteX1" fmla="*/ 570965 w 702181"/>
              <a:gd name="connsiteY1" fmla="*/ 0 h 675861"/>
              <a:gd name="connsiteX2" fmla="*/ 702181 w 702181"/>
              <a:gd name="connsiteY2" fmla="*/ 183874 h 675861"/>
              <a:gd name="connsiteX3" fmla="*/ 351091 w 702181"/>
              <a:gd name="connsiteY3" fmla="*/ 675861 h 675861"/>
              <a:gd name="connsiteX4" fmla="*/ 0 w 702181"/>
              <a:gd name="connsiteY4" fmla="*/ 675861 h 675861"/>
              <a:gd name="connsiteX5" fmla="*/ 351091 w 702181"/>
              <a:gd name="connsiteY5" fmla="*/ 183874 h 675861"/>
              <a:gd name="connsiteX6" fmla="*/ 219875 w 702181"/>
              <a:gd name="connsiteY6" fmla="*/ 0 h 675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02181" h="675861">
                <a:moveTo>
                  <a:pt x="219875" y="0"/>
                </a:moveTo>
                <a:lnTo>
                  <a:pt x="570965" y="0"/>
                </a:lnTo>
                <a:lnTo>
                  <a:pt x="702181" y="183874"/>
                </a:lnTo>
                <a:lnTo>
                  <a:pt x="351091" y="675861"/>
                </a:lnTo>
                <a:lnTo>
                  <a:pt x="0" y="675861"/>
                </a:lnTo>
                <a:lnTo>
                  <a:pt x="351091" y="183874"/>
                </a:lnTo>
                <a:lnTo>
                  <a:pt x="219875" y="0"/>
                </a:lnTo>
                <a:close/>
              </a:path>
            </a:pathLst>
          </a:custGeom>
          <a:solidFill>
            <a:srgbClr val="C8C9C7">
              <a:alpha val="14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TCRaleway"/>
              <a:ea typeface="+mn-ea"/>
              <a:cs typeface="+mn-cs"/>
            </a:endParaRPr>
          </a:p>
        </p:txBody>
      </p:sp>
      <p:sp>
        <p:nvSpPr>
          <p:cNvPr id="107" name="Freeform: Shape 106">
            <a:extLst>
              <a:ext uri="{FF2B5EF4-FFF2-40B4-BE49-F238E27FC236}">
                <a16:creationId xmlns:a16="http://schemas.microsoft.com/office/drawing/2014/main" id="{674CC12C-C60C-4438-8830-61A7F083129B}"/>
              </a:ext>
            </a:extLst>
          </p:cNvPr>
          <p:cNvSpPr/>
          <p:nvPr userDrawn="1"/>
        </p:nvSpPr>
        <p:spPr>
          <a:xfrm>
            <a:off x="11072375" y="2762"/>
            <a:ext cx="702181" cy="675861"/>
          </a:xfrm>
          <a:custGeom>
            <a:avLst/>
            <a:gdLst>
              <a:gd name="connsiteX0" fmla="*/ 219875 w 702181"/>
              <a:gd name="connsiteY0" fmla="*/ 0 h 675861"/>
              <a:gd name="connsiteX1" fmla="*/ 570965 w 702181"/>
              <a:gd name="connsiteY1" fmla="*/ 0 h 675861"/>
              <a:gd name="connsiteX2" fmla="*/ 702181 w 702181"/>
              <a:gd name="connsiteY2" fmla="*/ 183874 h 675861"/>
              <a:gd name="connsiteX3" fmla="*/ 351091 w 702181"/>
              <a:gd name="connsiteY3" fmla="*/ 675861 h 675861"/>
              <a:gd name="connsiteX4" fmla="*/ 0 w 702181"/>
              <a:gd name="connsiteY4" fmla="*/ 675861 h 675861"/>
              <a:gd name="connsiteX5" fmla="*/ 351091 w 702181"/>
              <a:gd name="connsiteY5" fmla="*/ 183874 h 675861"/>
              <a:gd name="connsiteX6" fmla="*/ 219875 w 702181"/>
              <a:gd name="connsiteY6" fmla="*/ 0 h 675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02181" h="675861">
                <a:moveTo>
                  <a:pt x="219875" y="0"/>
                </a:moveTo>
                <a:lnTo>
                  <a:pt x="570965" y="0"/>
                </a:lnTo>
                <a:lnTo>
                  <a:pt x="702181" y="183874"/>
                </a:lnTo>
                <a:lnTo>
                  <a:pt x="351091" y="675861"/>
                </a:lnTo>
                <a:lnTo>
                  <a:pt x="0" y="675861"/>
                </a:lnTo>
                <a:lnTo>
                  <a:pt x="351091" y="183874"/>
                </a:lnTo>
                <a:lnTo>
                  <a:pt x="219875" y="0"/>
                </a:lnTo>
                <a:close/>
              </a:path>
            </a:pathLst>
          </a:custGeom>
          <a:solidFill>
            <a:srgbClr val="C8C9C7">
              <a:alpha val="20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TCRaleway"/>
              <a:ea typeface="+mn-ea"/>
              <a:cs typeface="+mn-cs"/>
            </a:endParaRPr>
          </a:p>
        </p:txBody>
      </p:sp>
      <p:grpSp>
        <p:nvGrpSpPr>
          <p:cNvPr id="108" name="Group 107">
            <a:extLst>
              <a:ext uri="{FF2B5EF4-FFF2-40B4-BE49-F238E27FC236}">
                <a16:creationId xmlns:a16="http://schemas.microsoft.com/office/drawing/2014/main" id="{03EEE2BC-2B99-4632-A83A-DD89FA9D29E3}"/>
              </a:ext>
            </a:extLst>
          </p:cNvPr>
          <p:cNvGrpSpPr/>
          <p:nvPr userDrawn="1"/>
        </p:nvGrpSpPr>
        <p:grpSpPr>
          <a:xfrm>
            <a:off x="11042268" y="241617"/>
            <a:ext cx="932562" cy="679259"/>
            <a:chOff x="11042268" y="267017"/>
            <a:chExt cx="932562" cy="679259"/>
          </a:xfrm>
        </p:grpSpPr>
        <p:grpSp>
          <p:nvGrpSpPr>
            <p:cNvPr id="109" name="Graphic 42">
              <a:extLst>
                <a:ext uri="{FF2B5EF4-FFF2-40B4-BE49-F238E27FC236}">
                  <a16:creationId xmlns:a16="http://schemas.microsoft.com/office/drawing/2014/main" id="{E76A6C60-6E89-4365-A3C1-42F195574F4C}"/>
                </a:ext>
              </a:extLst>
            </p:cNvPr>
            <p:cNvGrpSpPr/>
            <p:nvPr/>
          </p:nvGrpSpPr>
          <p:grpSpPr>
            <a:xfrm flipV="1">
              <a:off x="11042268" y="267017"/>
              <a:ext cx="907034" cy="112903"/>
              <a:chOff x="10978768" y="6357873"/>
              <a:chExt cx="907034" cy="112903"/>
            </a:xfrm>
            <a:solidFill>
              <a:srgbClr val="B8B7B9"/>
            </a:solidFill>
          </p:grpSpPr>
          <p:sp>
            <p:nvSpPr>
              <p:cNvPr id="119" name="Freeform: Shape 118">
                <a:extLst>
                  <a:ext uri="{FF2B5EF4-FFF2-40B4-BE49-F238E27FC236}">
                    <a16:creationId xmlns:a16="http://schemas.microsoft.com/office/drawing/2014/main" id="{67C0CA8D-313C-4845-86EF-1047A8E2AC83}"/>
                  </a:ext>
                </a:extLst>
              </p:cNvPr>
              <p:cNvSpPr/>
              <p:nvPr/>
            </p:nvSpPr>
            <p:spPr>
              <a:xfrm>
                <a:off x="10978768" y="6393878"/>
                <a:ext cx="16447" cy="76898"/>
              </a:xfrm>
              <a:custGeom>
                <a:avLst/>
                <a:gdLst>
                  <a:gd name="connsiteX0" fmla="*/ 0 w 16447"/>
                  <a:gd name="connsiteY0" fmla="*/ 76899 h 76898"/>
                  <a:gd name="connsiteX1" fmla="*/ 0 w 16447"/>
                  <a:gd name="connsiteY1" fmla="*/ 0 h 76898"/>
                  <a:gd name="connsiteX2" fmla="*/ 16447 w 16447"/>
                  <a:gd name="connsiteY2" fmla="*/ 0 h 76898"/>
                  <a:gd name="connsiteX3" fmla="*/ 16447 w 16447"/>
                  <a:gd name="connsiteY3" fmla="*/ 76899 h 76898"/>
                  <a:gd name="connsiteX4" fmla="*/ 0 w 16447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7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7" y="0"/>
                    </a:lnTo>
                    <a:lnTo>
                      <a:pt x="16447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0" name="Freeform: Shape 119">
                <a:extLst>
                  <a:ext uri="{FF2B5EF4-FFF2-40B4-BE49-F238E27FC236}">
                    <a16:creationId xmlns:a16="http://schemas.microsoft.com/office/drawing/2014/main" id="{AF64CE54-ED77-4075-ACED-CA3F5CE9FE6F}"/>
                  </a:ext>
                </a:extLst>
              </p:cNvPr>
              <p:cNvSpPr/>
              <p:nvPr/>
            </p:nvSpPr>
            <p:spPr>
              <a:xfrm>
                <a:off x="11041824" y="6393878"/>
                <a:ext cx="16446" cy="76898"/>
              </a:xfrm>
              <a:custGeom>
                <a:avLst/>
                <a:gdLst>
                  <a:gd name="connsiteX0" fmla="*/ 0 w 16446"/>
                  <a:gd name="connsiteY0" fmla="*/ 76899 h 76898"/>
                  <a:gd name="connsiteX1" fmla="*/ 0 w 16446"/>
                  <a:gd name="connsiteY1" fmla="*/ 0 h 76898"/>
                  <a:gd name="connsiteX2" fmla="*/ 16446 w 16446"/>
                  <a:gd name="connsiteY2" fmla="*/ 0 h 76898"/>
                  <a:gd name="connsiteX3" fmla="*/ 16446 w 16446"/>
                  <a:gd name="connsiteY3" fmla="*/ 76899 h 76898"/>
                  <a:gd name="connsiteX4" fmla="*/ 0 w 16446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6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6" y="0"/>
                    </a:lnTo>
                    <a:lnTo>
                      <a:pt x="16446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1" name="Freeform: Shape 120">
                <a:extLst>
                  <a:ext uri="{FF2B5EF4-FFF2-40B4-BE49-F238E27FC236}">
                    <a16:creationId xmlns:a16="http://schemas.microsoft.com/office/drawing/2014/main" id="{6DA7B07E-0952-4FD7-9BDE-A2A769039CAE}"/>
                  </a:ext>
                </a:extLst>
              </p:cNvPr>
              <p:cNvSpPr/>
              <p:nvPr/>
            </p:nvSpPr>
            <p:spPr>
              <a:xfrm>
                <a:off x="11104880" y="6393878"/>
                <a:ext cx="16446" cy="76898"/>
              </a:xfrm>
              <a:custGeom>
                <a:avLst/>
                <a:gdLst>
                  <a:gd name="connsiteX0" fmla="*/ 0 w 16446"/>
                  <a:gd name="connsiteY0" fmla="*/ 76899 h 76898"/>
                  <a:gd name="connsiteX1" fmla="*/ 0 w 16446"/>
                  <a:gd name="connsiteY1" fmla="*/ 0 h 76898"/>
                  <a:gd name="connsiteX2" fmla="*/ 16446 w 16446"/>
                  <a:gd name="connsiteY2" fmla="*/ 0 h 76898"/>
                  <a:gd name="connsiteX3" fmla="*/ 16446 w 16446"/>
                  <a:gd name="connsiteY3" fmla="*/ 76899 h 76898"/>
                  <a:gd name="connsiteX4" fmla="*/ 0 w 16446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6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6" y="0"/>
                    </a:lnTo>
                    <a:lnTo>
                      <a:pt x="16446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2" name="Freeform: Shape 121">
                <a:extLst>
                  <a:ext uri="{FF2B5EF4-FFF2-40B4-BE49-F238E27FC236}">
                    <a16:creationId xmlns:a16="http://schemas.microsoft.com/office/drawing/2014/main" id="{77097653-2DA5-4ACE-B2CC-9A42B4A8D3FD}"/>
                  </a:ext>
                </a:extLst>
              </p:cNvPr>
              <p:cNvSpPr/>
              <p:nvPr/>
            </p:nvSpPr>
            <p:spPr>
              <a:xfrm>
                <a:off x="11167998" y="6357873"/>
                <a:ext cx="16382" cy="112903"/>
              </a:xfrm>
              <a:custGeom>
                <a:avLst/>
                <a:gdLst>
                  <a:gd name="connsiteX0" fmla="*/ 0 w 16382"/>
                  <a:gd name="connsiteY0" fmla="*/ 112903 h 112903"/>
                  <a:gd name="connsiteX1" fmla="*/ 0 w 16382"/>
                  <a:gd name="connsiteY1" fmla="*/ 0 h 112903"/>
                  <a:gd name="connsiteX2" fmla="*/ 16383 w 16382"/>
                  <a:gd name="connsiteY2" fmla="*/ 0 h 112903"/>
                  <a:gd name="connsiteX3" fmla="*/ 16383 w 16382"/>
                  <a:gd name="connsiteY3" fmla="*/ 112903 h 112903"/>
                  <a:gd name="connsiteX4" fmla="*/ 0 w 16382"/>
                  <a:gd name="connsiteY4" fmla="*/ 112903 h 1129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382" h="112903">
                    <a:moveTo>
                      <a:pt x="0" y="112903"/>
                    </a:moveTo>
                    <a:lnTo>
                      <a:pt x="0" y="0"/>
                    </a:lnTo>
                    <a:lnTo>
                      <a:pt x="16383" y="0"/>
                    </a:lnTo>
                    <a:lnTo>
                      <a:pt x="16383" y="112903"/>
                    </a:lnTo>
                    <a:lnTo>
                      <a:pt x="0" y="112903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3" name="Freeform: Shape 122">
                <a:extLst>
                  <a:ext uri="{FF2B5EF4-FFF2-40B4-BE49-F238E27FC236}">
                    <a16:creationId xmlns:a16="http://schemas.microsoft.com/office/drawing/2014/main" id="{0C49EC7A-9A79-4570-8318-E8BA608BB9F0}"/>
                  </a:ext>
                </a:extLst>
              </p:cNvPr>
              <p:cNvSpPr/>
              <p:nvPr/>
            </p:nvSpPr>
            <p:spPr>
              <a:xfrm>
                <a:off x="11233594" y="6393878"/>
                <a:ext cx="16447" cy="76898"/>
              </a:xfrm>
              <a:custGeom>
                <a:avLst/>
                <a:gdLst>
                  <a:gd name="connsiteX0" fmla="*/ 0 w 16447"/>
                  <a:gd name="connsiteY0" fmla="*/ 76899 h 76898"/>
                  <a:gd name="connsiteX1" fmla="*/ 0 w 16447"/>
                  <a:gd name="connsiteY1" fmla="*/ 0 h 76898"/>
                  <a:gd name="connsiteX2" fmla="*/ 16447 w 16447"/>
                  <a:gd name="connsiteY2" fmla="*/ 0 h 76898"/>
                  <a:gd name="connsiteX3" fmla="*/ 16447 w 16447"/>
                  <a:gd name="connsiteY3" fmla="*/ 76899 h 76898"/>
                  <a:gd name="connsiteX4" fmla="*/ 0 w 16447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7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7" y="0"/>
                    </a:lnTo>
                    <a:lnTo>
                      <a:pt x="16447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4" name="Freeform: Shape 123">
                <a:extLst>
                  <a:ext uri="{FF2B5EF4-FFF2-40B4-BE49-F238E27FC236}">
                    <a16:creationId xmlns:a16="http://schemas.microsoft.com/office/drawing/2014/main" id="{5FB48482-AACF-4BC4-9288-09D9E7DF7984}"/>
                  </a:ext>
                </a:extLst>
              </p:cNvPr>
              <p:cNvSpPr/>
              <p:nvPr/>
            </p:nvSpPr>
            <p:spPr>
              <a:xfrm>
                <a:off x="11488419" y="6393878"/>
                <a:ext cx="16447" cy="76898"/>
              </a:xfrm>
              <a:custGeom>
                <a:avLst/>
                <a:gdLst>
                  <a:gd name="connsiteX0" fmla="*/ 0 w 16447"/>
                  <a:gd name="connsiteY0" fmla="*/ 76899 h 76898"/>
                  <a:gd name="connsiteX1" fmla="*/ 0 w 16447"/>
                  <a:gd name="connsiteY1" fmla="*/ 0 h 76898"/>
                  <a:gd name="connsiteX2" fmla="*/ 16447 w 16447"/>
                  <a:gd name="connsiteY2" fmla="*/ 0 h 76898"/>
                  <a:gd name="connsiteX3" fmla="*/ 16447 w 16447"/>
                  <a:gd name="connsiteY3" fmla="*/ 76899 h 76898"/>
                  <a:gd name="connsiteX4" fmla="*/ 0 w 16447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7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7" y="0"/>
                    </a:lnTo>
                    <a:lnTo>
                      <a:pt x="16447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5" name="Freeform: Shape 124">
                <a:extLst>
                  <a:ext uri="{FF2B5EF4-FFF2-40B4-BE49-F238E27FC236}">
                    <a16:creationId xmlns:a16="http://schemas.microsoft.com/office/drawing/2014/main" id="{68C32904-67D0-4E06-BBAC-025737180B02}"/>
                  </a:ext>
                </a:extLst>
              </p:cNvPr>
              <p:cNvSpPr/>
              <p:nvPr/>
            </p:nvSpPr>
            <p:spPr>
              <a:xfrm>
                <a:off x="11743245" y="6393878"/>
                <a:ext cx="16447" cy="76898"/>
              </a:xfrm>
              <a:custGeom>
                <a:avLst/>
                <a:gdLst>
                  <a:gd name="connsiteX0" fmla="*/ 0 w 16447"/>
                  <a:gd name="connsiteY0" fmla="*/ 76899 h 76898"/>
                  <a:gd name="connsiteX1" fmla="*/ 0 w 16447"/>
                  <a:gd name="connsiteY1" fmla="*/ 0 h 76898"/>
                  <a:gd name="connsiteX2" fmla="*/ 16447 w 16447"/>
                  <a:gd name="connsiteY2" fmla="*/ 0 h 76898"/>
                  <a:gd name="connsiteX3" fmla="*/ 16447 w 16447"/>
                  <a:gd name="connsiteY3" fmla="*/ 76899 h 76898"/>
                  <a:gd name="connsiteX4" fmla="*/ 0 w 16447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7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7" y="0"/>
                    </a:lnTo>
                    <a:lnTo>
                      <a:pt x="16447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6" name="Freeform: Shape 125">
                <a:extLst>
                  <a:ext uri="{FF2B5EF4-FFF2-40B4-BE49-F238E27FC236}">
                    <a16:creationId xmlns:a16="http://schemas.microsoft.com/office/drawing/2014/main" id="{421B5C89-AA28-473C-8F7B-D759C1A5B39B}"/>
                  </a:ext>
                </a:extLst>
              </p:cNvPr>
              <p:cNvSpPr/>
              <p:nvPr/>
            </p:nvSpPr>
            <p:spPr>
              <a:xfrm>
                <a:off x="11296650" y="6393878"/>
                <a:ext cx="16446" cy="76898"/>
              </a:xfrm>
              <a:custGeom>
                <a:avLst/>
                <a:gdLst>
                  <a:gd name="connsiteX0" fmla="*/ 0 w 16446"/>
                  <a:gd name="connsiteY0" fmla="*/ 76899 h 76898"/>
                  <a:gd name="connsiteX1" fmla="*/ 0 w 16446"/>
                  <a:gd name="connsiteY1" fmla="*/ 0 h 76898"/>
                  <a:gd name="connsiteX2" fmla="*/ 16446 w 16446"/>
                  <a:gd name="connsiteY2" fmla="*/ 0 h 76898"/>
                  <a:gd name="connsiteX3" fmla="*/ 16446 w 16446"/>
                  <a:gd name="connsiteY3" fmla="*/ 76899 h 76898"/>
                  <a:gd name="connsiteX4" fmla="*/ 0 w 16446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6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6" y="0"/>
                    </a:lnTo>
                    <a:lnTo>
                      <a:pt x="16446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7" name="Freeform: Shape 126">
                <a:extLst>
                  <a:ext uri="{FF2B5EF4-FFF2-40B4-BE49-F238E27FC236}">
                    <a16:creationId xmlns:a16="http://schemas.microsoft.com/office/drawing/2014/main" id="{0DBC857E-F462-4263-85B2-6214B6F0B4FE}"/>
                  </a:ext>
                </a:extLst>
              </p:cNvPr>
              <p:cNvSpPr/>
              <p:nvPr/>
            </p:nvSpPr>
            <p:spPr>
              <a:xfrm>
                <a:off x="11551475" y="6393878"/>
                <a:ext cx="16446" cy="76898"/>
              </a:xfrm>
              <a:custGeom>
                <a:avLst/>
                <a:gdLst>
                  <a:gd name="connsiteX0" fmla="*/ 0 w 16446"/>
                  <a:gd name="connsiteY0" fmla="*/ 76899 h 76898"/>
                  <a:gd name="connsiteX1" fmla="*/ 0 w 16446"/>
                  <a:gd name="connsiteY1" fmla="*/ 0 h 76898"/>
                  <a:gd name="connsiteX2" fmla="*/ 16446 w 16446"/>
                  <a:gd name="connsiteY2" fmla="*/ 0 h 76898"/>
                  <a:gd name="connsiteX3" fmla="*/ 16446 w 16446"/>
                  <a:gd name="connsiteY3" fmla="*/ 76899 h 76898"/>
                  <a:gd name="connsiteX4" fmla="*/ 0 w 16446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6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6" y="0"/>
                    </a:lnTo>
                    <a:lnTo>
                      <a:pt x="16446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8" name="Freeform: Shape 127">
                <a:extLst>
                  <a:ext uri="{FF2B5EF4-FFF2-40B4-BE49-F238E27FC236}">
                    <a16:creationId xmlns:a16="http://schemas.microsoft.com/office/drawing/2014/main" id="{CFC9C795-F1B6-44DE-B10D-68D87D61C85D}"/>
                  </a:ext>
                </a:extLst>
              </p:cNvPr>
              <p:cNvSpPr/>
              <p:nvPr/>
            </p:nvSpPr>
            <p:spPr>
              <a:xfrm>
                <a:off x="11806301" y="6393878"/>
                <a:ext cx="16446" cy="76898"/>
              </a:xfrm>
              <a:custGeom>
                <a:avLst/>
                <a:gdLst>
                  <a:gd name="connsiteX0" fmla="*/ 0 w 16446"/>
                  <a:gd name="connsiteY0" fmla="*/ 76899 h 76898"/>
                  <a:gd name="connsiteX1" fmla="*/ 0 w 16446"/>
                  <a:gd name="connsiteY1" fmla="*/ 0 h 76898"/>
                  <a:gd name="connsiteX2" fmla="*/ 16446 w 16446"/>
                  <a:gd name="connsiteY2" fmla="*/ 0 h 76898"/>
                  <a:gd name="connsiteX3" fmla="*/ 16446 w 16446"/>
                  <a:gd name="connsiteY3" fmla="*/ 76899 h 76898"/>
                  <a:gd name="connsiteX4" fmla="*/ 0 w 16446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6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6" y="0"/>
                    </a:lnTo>
                    <a:lnTo>
                      <a:pt x="16446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9" name="Freeform: Shape 128">
                <a:extLst>
                  <a:ext uri="{FF2B5EF4-FFF2-40B4-BE49-F238E27FC236}">
                    <a16:creationId xmlns:a16="http://schemas.microsoft.com/office/drawing/2014/main" id="{4A08CF7B-D6F3-4333-8784-B71DC9575F62}"/>
                  </a:ext>
                </a:extLst>
              </p:cNvPr>
              <p:cNvSpPr/>
              <p:nvPr/>
            </p:nvSpPr>
            <p:spPr>
              <a:xfrm>
                <a:off x="11359705" y="6393878"/>
                <a:ext cx="16446" cy="76898"/>
              </a:xfrm>
              <a:custGeom>
                <a:avLst/>
                <a:gdLst>
                  <a:gd name="connsiteX0" fmla="*/ 0 w 16446"/>
                  <a:gd name="connsiteY0" fmla="*/ 76899 h 76898"/>
                  <a:gd name="connsiteX1" fmla="*/ 0 w 16446"/>
                  <a:gd name="connsiteY1" fmla="*/ 0 h 76898"/>
                  <a:gd name="connsiteX2" fmla="*/ 16446 w 16446"/>
                  <a:gd name="connsiteY2" fmla="*/ 0 h 76898"/>
                  <a:gd name="connsiteX3" fmla="*/ 16446 w 16446"/>
                  <a:gd name="connsiteY3" fmla="*/ 76899 h 76898"/>
                  <a:gd name="connsiteX4" fmla="*/ 0 w 16446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6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6" y="0"/>
                    </a:lnTo>
                    <a:lnTo>
                      <a:pt x="16446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0" name="Freeform: Shape 129">
                <a:extLst>
                  <a:ext uri="{FF2B5EF4-FFF2-40B4-BE49-F238E27FC236}">
                    <a16:creationId xmlns:a16="http://schemas.microsoft.com/office/drawing/2014/main" id="{DA6A7EE1-E9B0-4B1A-9723-5853878F85AB}"/>
                  </a:ext>
                </a:extLst>
              </p:cNvPr>
              <p:cNvSpPr/>
              <p:nvPr/>
            </p:nvSpPr>
            <p:spPr>
              <a:xfrm>
                <a:off x="11614594" y="6393878"/>
                <a:ext cx="16383" cy="76898"/>
              </a:xfrm>
              <a:custGeom>
                <a:avLst/>
                <a:gdLst>
                  <a:gd name="connsiteX0" fmla="*/ 0 w 16383"/>
                  <a:gd name="connsiteY0" fmla="*/ 76899 h 76898"/>
                  <a:gd name="connsiteX1" fmla="*/ 0 w 16383"/>
                  <a:gd name="connsiteY1" fmla="*/ 0 h 76898"/>
                  <a:gd name="connsiteX2" fmla="*/ 16383 w 16383"/>
                  <a:gd name="connsiteY2" fmla="*/ 0 h 76898"/>
                  <a:gd name="connsiteX3" fmla="*/ 16383 w 16383"/>
                  <a:gd name="connsiteY3" fmla="*/ 76899 h 76898"/>
                  <a:gd name="connsiteX4" fmla="*/ 0 w 16383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383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383" y="0"/>
                    </a:lnTo>
                    <a:lnTo>
                      <a:pt x="16383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1" name="Freeform: Shape 130">
                <a:extLst>
                  <a:ext uri="{FF2B5EF4-FFF2-40B4-BE49-F238E27FC236}">
                    <a16:creationId xmlns:a16="http://schemas.microsoft.com/office/drawing/2014/main" id="{6C00DB74-DF2C-455E-9131-78BBAC11DDD6}"/>
                  </a:ext>
                </a:extLst>
              </p:cNvPr>
              <p:cNvSpPr/>
              <p:nvPr/>
            </p:nvSpPr>
            <p:spPr>
              <a:xfrm>
                <a:off x="11869419" y="6393878"/>
                <a:ext cx="16383" cy="76898"/>
              </a:xfrm>
              <a:custGeom>
                <a:avLst/>
                <a:gdLst>
                  <a:gd name="connsiteX0" fmla="*/ 0 w 16383"/>
                  <a:gd name="connsiteY0" fmla="*/ 76899 h 76898"/>
                  <a:gd name="connsiteX1" fmla="*/ 0 w 16383"/>
                  <a:gd name="connsiteY1" fmla="*/ 0 h 76898"/>
                  <a:gd name="connsiteX2" fmla="*/ 16383 w 16383"/>
                  <a:gd name="connsiteY2" fmla="*/ 0 h 76898"/>
                  <a:gd name="connsiteX3" fmla="*/ 16383 w 16383"/>
                  <a:gd name="connsiteY3" fmla="*/ 76899 h 76898"/>
                  <a:gd name="connsiteX4" fmla="*/ 0 w 16383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383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383" y="0"/>
                    </a:lnTo>
                    <a:lnTo>
                      <a:pt x="16383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2" name="Freeform: Shape 131">
                <a:extLst>
                  <a:ext uri="{FF2B5EF4-FFF2-40B4-BE49-F238E27FC236}">
                    <a16:creationId xmlns:a16="http://schemas.microsoft.com/office/drawing/2014/main" id="{9ED12EEE-34E1-4CAC-8D66-0F40E8AD5757}"/>
                  </a:ext>
                </a:extLst>
              </p:cNvPr>
              <p:cNvSpPr/>
              <p:nvPr/>
            </p:nvSpPr>
            <p:spPr>
              <a:xfrm>
                <a:off x="11422824" y="6357873"/>
                <a:ext cx="16382" cy="112903"/>
              </a:xfrm>
              <a:custGeom>
                <a:avLst/>
                <a:gdLst>
                  <a:gd name="connsiteX0" fmla="*/ 0 w 16382"/>
                  <a:gd name="connsiteY0" fmla="*/ 112903 h 112903"/>
                  <a:gd name="connsiteX1" fmla="*/ 0 w 16382"/>
                  <a:gd name="connsiteY1" fmla="*/ 0 h 112903"/>
                  <a:gd name="connsiteX2" fmla="*/ 16383 w 16382"/>
                  <a:gd name="connsiteY2" fmla="*/ 0 h 112903"/>
                  <a:gd name="connsiteX3" fmla="*/ 16383 w 16382"/>
                  <a:gd name="connsiteY3" fmla="*/ 112903 h 112903"/>
                  <a:gd name="connsiteX4" fmla="*/ 0 w 16382"/>
                  <a:gd name="connsiteY4" fmla="*/ 112903 h 1129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382" h="112903">
                    <a:moveTo>
                      <a:pt x="0" y="112903"/>
                    </a:moveTo>
                    <a:lnTo>
                      <a:pt x="0" y="0"/>
                    </a:lnTo>
                    <a:lnTo>
                      <a:pt x="16383" y="0"/>
                    </a:lnTo>
                    <a:lnTo>
                      <a:pt x="16383" y="112903"/>
                    </a:lnTo>
                    <a:lnTo>
                      <a:pt x="0" y="112903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3" name="Freeform: Shape 132">
                <a:extLst>
                  <a:ext uri="{FF2B5EF4-FFF2-40B4-BE49-F238E27FC236}">
                    <a16:creationId xmlns:a16="http://schemas.microsoft.com/office/drawing/2014/main" id="{A205E000-3581-46C7-915B-CCCF2678643B}"/>
                  </a:ext>
                </a:extLst>
              </p:cNvPr>
              <p:cNvSpPr/>
              <p:nvPr/>
            </p:nvSpPr>
            <p:spPr>
              <a:xfrm>
                <a:off x="11677650" y="6357873"/>
                <a:ext cx="16446" cy="112903"/>
              </a:xfrm>
              <a:custGeom>
                <a:avLst/>
                <a:gdLst>
                  <a:gd name="connsiteX0" fmla="*/ 0 w 16446"/>
                  <a:gd name="connsiteY0" fmla="*/ 112903 h 112903"/>
                  <a:gd name="connsiteX1" fmla="*/ 0 w 16446"/>
                  <a:gd name="connsiteY1" fmla="*/ 0 h 112903"/>
                  <a:gd name="connsiteX2" fmla="*/ 16446 w 16446"/>
                  <a:gd name="connsiteY2" fmla="*/ 0 h 112903"/>
                  <a:gd name="connsiteX3" fmla="*/ 16446 w 16446"/>
                  <a:gd name="connsiteY3" fmla="*/ 112903 h 112903"/>
                  <a:gd name="connsiteX4" fmla="*/ 0 w 16446"/>
                  <a:gd name="connsiteY4" fmla="*/ 112903 h 1129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6" h="112903">
                    <a:moveTo>
                      <a:pt x="0" y="112903"/>
                    </a:moveTo>
                    <a:lnTo>
                      <a:pt x="0" y="0"/>
                    </a:lnTo>
                    <a:lnTo>
                      <a:pt x="16446" y="0"/>
                    </a:lnTo>
                    <a:lnTo>
                      <a:pt x="16446" y="112903"/>
                    </a:lnTo>
                    <a:lnTo>
                      <a:pt x="0" y="112903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110" name="Freeform: Shape 109">
              <a:extLst>
                <a:ext uri="{FF2B5EF4-FFF2-40B4-BE49-F238E27FC236}">
                  <a16:creationId xmlns:a16="http://schemas.microsoft.com/office/drawing/2014/main" id="{7F1A424A-2730-4831-9060-FE6AB9BB7850}"/>
                </a:ext>
              </a:extLst>
            </p:cNvPr>
            <p:cNvSpPr/>
            <p:nvPr/>
          </p:nvSpPr>
          <p:spPr>
            <a:xfrm rot="5400000" flipV="1">
              <a:off x="11916016" y="424307"/>
              <a:ext cx="43688" cy="43687"/>
            </a:xfrm>
            <a:custGeom>
              <a:avLst/>
              <a:gdLst>
                <a:gd name="connsiteX0" fmla="*/ 0 w 43688"/>
                <a:gd name="connsiteY0" fmla="*/ 0 h 43687"/>
                <a:gd name="connsiteX1" fmla="*/ 43688 w 43688"/>
                <a:gd name="connsiteY1" fmla="*/ 0 h 43687"/>
                <a:gd name="connsiteX2" fmla="*/ 43688 w 43688"/>
                <a:gd name="connsiteY2" fmla="*/ 43688 h 43687"/>
                <a:gd name="connsiteX3" fmla="*/ 0 w 43688"/>
                <a:gd name="connsiteY3" fmla="*/ 43688 h 436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688" h="43687">
                  <a:moveTo>
                    <a:pt x="0" y="0"/>
                  </a:moveTo>
                  <a:lnTo>
                    <a:pt x="43688" y="0"/>
                  </a:lnTo>
                  <a:lnTo>
                    <a:pt x="43688" y="43688"/>
                  </a:lnTo>
                  <a:lnTo>
                    <a:pt x="0" y="43688"/>
                  </a:lnTo>
                  <a:close/>
                </a:path>
              </a:pathLst>
            </a:custGeom>
            <a:noFill/>
            <a:ln w="3175" cap="flat">
              <a:solidFill>
                <a:srgbClr val="FFFFFF">
                  <a:lumMod val="50000"/>
                </a:srgbClr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grpSp>
          <p:nvGrpSpPr>
            <p:cNvPr id="111" name="Graphic 42">
              <a:extLst>
                <a:ext uri="{FF2B5EF4-FFF2-40B4-BE49-F238E27FC236}">
                  <a16:creationId xmlns:a16="http://schemas.microsoft.com/office/drawing/2014/main" id="{2344140C-36F0-464F-AE12-58F3BCA89893}"/>
                </a:ext>
              </a:extLst>
            </p:cNvPr>
            <p:cNvGrpSpPr/>
            <p:nvPr/>
          </p:nvGrpSpPr>
          <p:grpSpPr>
            <a:xfrm flipV="1">
              <a:off x="11901678" y="535622"/>
              <a:ext cx="73152" cy="410654"/>
              <a:chOff x="11838178" y="5791517"/>
              <a:chExt cx="73152" cy="410654"/>
            </a:xfrm>
            <a:solidFill>
              <a:srgbClr val="FFFFFF">
                <a:lumMod val="50000"/>
              </a:srgbClr>
            </a:solidFill>
          </p:grpSpPr>
          <p:grpSp>
            <p:nvGrpSpPr>
              <p:cNvPr id="112" name="Graphic 42">
                <a:extLst>
                  <a:ext uri="{FF2B5EF4-FFF2-40B4-BE49-F238E27FC236}">
                    <a16:creationId xmlns:a16="http://schemas.microsoft.com/office/drawing/2014/main" id="{9CF2C3B3-748B-4990-B09F-4A636EC5FC77}"/>
                  </a:ext>
                </a:extLst>
              </p:cNvPr>
              <p:cNvGrpSpPr/>
              <p:nvPr/>
            </p:nvGrpSpPr>
            <p:grpSpPr>
              <a:xfrm>
                <a:off x="11854497" y="5791517"/>
                <a:ext cx="42418" cy="282892"/>
                <a:chOff x="11854497" y="5791517"/>
                <a:chExt cx="42418" cy="282892"/>
              </a:xfrm>
              <a:grpFill/>
            </p:grpSpPr>
            <p:sp>
              <p:nvSpPr>
                <p:cNvPr id="114" name="Freeform: Shape 113">
                  <a:extLst>
                    <a:ext uri="{FF2B5EF4-FFF2-40B4-BE49-F238E27FC236}">
                      <a16:creationId xmlns:a16="http://schemas.microsoft.com/office/drawing/2014/main" id="{8B06F421-C117-4A14-A338-7536C1E1084E}"/>
                    </a:ext>
                  </a:extLst>
                </p:cNvPr>
                <p:cNvSpPr/>
                <p:nvPr/>
              </p:nvSpPr>
              <p:spPr>
                <a:xfrm>
                  <a:off x="11855259" y="5891022"/>
                  <a:ext cx="41655" cy="4381"/>
                </a:xfrm>
                <a:custGeom>
                  <a:avLst/>
                  <a:gdLst>
                    <a:gd name="connsiteX0" fmla="*/ 0 w 41655"/>
                    <a:gd name="connsiteY0" fmla="*/ 0 h 4381"/>
                    <a:gd name="connsiteX1" fmla="*/ 41656 w 41655"/>
                    <a:gd name="connsiteY1" fmla="*/ 0 h 4381"/>
                    <a:gd name="connsiteX2" fmla="*/ 41656 w 41655"/>
                    <a:gd name="connsiteY2" fmla="*/ 4381 h 4381"/>
                    <a:gd name="connsiteX3" fmla="*/ 0 w 41655"/>
                    <a:gd name="connsiteY3" fmla="*/ 4381 h 438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1655" h="4381">
                      <a:moveTo>
                        <a:pt x="0" y="0"/>
                      </a:moveTo>
                      <a:lnTo>
                        <a:pt x="41656" y="0"/>
                      </a:lnTo>
                      <a:lnTo>
                        <a:pt x="41656" y="4381"/>
                      </a:lnTo>
                      <a:lnTo>
                        <a:pt x="0" y="4381"/>
                      </a:ln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15" name="Freeform: Shape 114">
                  <a:extLst>
                    <a:ext uri="{FF2B5EF4-FFF2-40B4-BE49-F238E27FC236}">
                      <a16:creationId xmlns:a16="http://schemas.microsoft.com/office/drawing/2014/main" id="{0B451100-FFA2-495A-8825-2C61DEEF1E15}"/>
                    </a:ext>
                  </a:extLst>
                </p:cNvPr>
                <p:cNvSpPr/>
                <p:nvPr/>
              </p:nvSpPr>
              <p:spPr>
                <a:xfrm>
                  <a:off x="11855259" y="5955538"/>
                  <a:ext cx="41655" cy="4381"/>
                </a:xfrm>
                <a:custGeom>
                  <a:avLst/>
                  <a:gdLst>
                    <a:gd name="connsiteX0" fmla="*/ 0 w 41655"/>
                    <a:gd name="connsiteY0" fmla="*/ 0 h 4381"/>
                    <a:gd name="connsiteX1" fmla="*/ 41656 w 41655"/>
                    <a:gd name="connsiteY1" fmla="*/ 0 h 4381"/>
                    <a:gd name="connsiteX2" fmla="*/ 41656 w 41655"/>
                    <a:gd name="connsiteY2" fmla="*/ 4382 h 4381"/>
                    <a:gd name="connsiteX3" fmla="*/ 0 w 41655"/>
                    <a:gd name="connsiteY3" fmla="*/ 4382 h 438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1655" h="4381">
                      <a:moveTo>
                        <a:pt x="0" y="0"/>
                      </a:moveTo>
                      <a:lnTo>
                        <a:pt x="41656" y="0"/>
                      </a:lnTo>
                      <a:lnTo>
                        <a:pt x="41656" y="4382"/>
                      </a:lnTo>
                      <a:lnTo>
                        <a:pt x="0" y="4382"/>
                      </a:ln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16" name="Freeform: Shape 115">
                  <a:extLst>
                    <a:ext uri="{FF2B5EF4-FFF2-40B4-BE49-F238E27FC236}">
                      <a16:creationId xmlns:a16="http://schemas.microsoft.com/office/drawing/2014/main" id="{DA6027BA-5487-4D06-B6CE-DA1AE19ADBD8}"/>
                    </a:ext>
                  </a:extLst>
                </p:cNvPr>
                <p:cNvSpPr/>
                <p:nvPr/>
              </p:nvSpPr>
              <p:spPr>
                <a:xfrm>
                  <a:off x="11855259" y="6011545"/>
                  <a:ext cx="41655" cy="4381"/>
                </a:xfrm>
                <a:custGeom>
                  <a:avLst/>
                  <a:gdLst>
                    <a:gd name="connsiteX0" fmla="*/ 0 w 41655"/>
                    <a:gd name="connsiteY0" fmla="*/ 0 h 4381"/>
                    <a:gd name="connsiteX1" fmla="*/ 41656 w 41655"/>
                    <a:gd name="connsiteY1" fmla="*/ 0 h 4381"/>
                    <a:gd name="connsiteX2" fmla="*/ 41656 w 41655"/>
                    <a:gd name="connsiteY2" fmla="*/ 4382 h 4381"/>
                    <a:gd name="connsiteX3" fmla="*/ 0 w 41655"/>
                    <a:gd name="connsiteY3" fmla="*/ 4382 h 438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1655" h="4381">
                      <a:moveTo>
                        <a:pt x="0" y="0"/>
                      </a:moveTo>
                      <a:lnTo>
                        <a:pt x="41656" y="0"/>
                      </a:lnTo>
                      <a:lnTo>
                        <a:pt x="41656" y="4382"/>
                      </a:lnTo>
                      <a:lnTo>
                        <a:pt x="0" y="4382"/>
                      </a:ln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17" name="Freeform: Shape 116">
                  <a:extLst>
                    <a:ext uri="{FF2B5EF4-FFF2-40B4-BE49-F238E27FC236}">
                      <a16:creationId xmlns:a16="http://schemas.microsoft.com/office/drawing/2014/main" id="{7F6CB4AE-5D33-40E8-A7A5-A3809695ABA8}"/>
                    </a:ext>
                  </a:extLst>
                </p:cNvPr>
                <p:cNvSpPr/>
                <p:nvPr/>
              </p:nvSpPr>
              <p:spPr>
                <a:xfrm>
                  <a:off x="11855259" y="6070028"/>
                  <a:ext cx="41655" cy="4381"/>
                </a:xfrm>
                <a:custGeom>
                  <a:avLst/>
                  <a:gdLst>
                    <a:gd name="connsiteX0" fmla="*/ 0 w 41655"/>
                    <a:gd name="connsiteY0" fmla="*/ 0 h 4381"/>
                    <a:gd name="connsiteX1" fmla="*/ 41656 w 41655"/>
                    <a:gd name="connsiteY1" fmla="*/ 0 h 4381"/>
                    <a:gd name="connsiteX2" fmla="*/ 41656 w 41655"/>
                    <a:gd name="connsiteY2" fmla="*/ 4381 h 4381"/>
                    <a:gd name="connsiteX3" fmla="*/ 0 w 41655"/>
                    <a:gd name="connsiteY3" fmla="*/ 4381 h 438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1655" h="4381">
                      <a:moveTo>
                        <a:pt x="0" y="0"/>
                      </a:moveTo>
                      <a:lnTo>
                        <a:pt x="41656" y="0"/>
                      </a:lnTo>
                      <a:lnTo>
                        <a:pt x="41656" y="4381"/>
                      </a:lnTo>
                      <a:lnTo>
                        <a:pt x="0" y="4381"/>
                      </a:ln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18" name="Freeform: Shape 117">
                  <a:extLst>
                    <a:ext uri="{FF2B5EF4-FFF2-40B4-BE49-F238E27FC236}">
                      <a16:creationId xmlns:a16="http://schemas.microsoft.com/office/drawing/2014/main" id="{0A7FC485-A152-4C62-B4BC-2C67739D0C0C}"/>
                    </a:ext>
                  </a:extLst>
                </p:cNvPr>
                <p:cNvSpPr/>
                <p:nvPr/>
              </p:nvSpPr>
              <p:spPr>
                <a:xfrm>
                  <a:off x="11854497" y="5791517"/>
                  <a:ext cx="42418" cy="38100"/>
                </a:xfrm>
                <a:custGeom>
                  <a:avLst/>
                  <a:gdLst>
                    <a:gd name="connsiteX0" fmla="*/ 0 w 42418"/>
                    <a:gd name="connsiteY0" fmla="*/ 0 h 38100"/>
                    <a:gd name="connsiteX1" fmla="*/ 42418 w 42418"/>
                    <a:gd name="connsiteY1" fmla="*/ 0 h 38100"/>
                    <a:gd name="connsiteX2" fmla="*/ 42418 w 42418"/>
                    <a:gd name="connsiteY2" fmla="*/ 38100 h 38100"/>
                    <a:gd name="connsiteX3" fmla="*/ 0 w 42418"/>
                    <a:gd name="connsiteY3" fmla="*/ 38100 h 381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2418" h="38100">
                      <a:moveTo>
                        <a:pt x="0" y="0"/>
                      </a:moveTo>
                      <a:lnTo>
                        <a:pt x="42418" y="0"/>
                      </a:lnTo>
                      <a:lnTo>
                        <a:pt x="42418" y="38100"/>
                      </a:lnTo>
                      <a:lnTo>
                        <a:pt x="0" y="38100"/>
                      </a:lnTo>
                      <a:close/>
                    </a:path>
                  </a:pathLst>
                </a:custGeom>
                <a:solidFill>
                  <a:srgbClr val="C8C9C7"/>
                </a:solidFill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</a:endParaRPr>
                </a:p>
              </p:txBody>
            </p:sp>
          </p:grpSp>
          <p:sp>
            <p:nvSpPr>
              <p:cNvPr id="113" name="Freeform: Shape 112">
                <a:extLst>
                  <a:ext uri="{FF2B5EF4-FFF2-40B4-BE49-F238E27FC236}">
                    <a16:creationId xmlns:a16="http://schemas.microsoft.com/office/drawing/2014/main" id="{189B2A7E-1137-438B-B25A-C73A7989BFD3}"/>
                  </a:ext>
                </a:extLst>
              </p:cNvPr>
              <p:cNvSpPr/>
              <p:nvPr/>
            </p:nvSpPr>
            <p:spPr>
              <a:xfrm>
                <a:off x="11838178" y="6162294"/>
                <a:ext cx="73152" cy="39877"/>
              </a:xfrm>
              <a:custGeom>
                <a:avLst/>
                <a:gdLst>
                  <a:gd name="connsiteX0" fmla="*/ 38671 w 73152"/>
                  <a:gd name="connsiteY0" fmla="*/ 0 h 39877"/>
                  <a:gd name="connsiteX1" fmla="*/ 73152 w 73152"/>
                  <a:gd name="connsiteY1" fmla="*/ 37465 h 39877"/>
                  <a:gd name="connsiteX2" fmla="*/ 69914 w 73152"/>
                  <a:gd name="connsiteY2" fmla="*/ 39878 h 39877"/>
                  <a:gd name="connsiteX3" fmla="*/ 36576 w 73152"/>
                  <a:gd name="connsiteY3" fmla="*/ 3747 h 39877"/>
                  <a:gd name="connsiteX4" fmla="*/ 3239 w 73152"/>
                  <a:gd name="connsiteY4" fmla="*/ 39878 h 39877"/>
                  <a:gd name="connsiteX5" fmla="*/ 0 w 73152"/>
                  <a:gd name="connsiteY5" fmla="*/ 37465 h 39877"/>
                  <a:gd name="connsiteX6" fmla="*/ 34480 w 73152"/>
                  <a:gd name="connsiteY6" fmla="*/ 0 h 39877"/>
                  <a:gd name="connsiteX7" fmla="*/ 38671 w 73152"/>
                  <a:gd name="connsiteY7" fmla="*/ 0 h 398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3152" h="39877">
                    <a:moveTo>
                      <a:pt x="38671" y="0"/>
                    </a:moveTo>
                    <a:lnTo>
                      <a:pt x="73152" y="37465"/>
                    </a:lnTo>
                    <a:lnTo>
                      <a:pt x="69914" y="39878"/>
                    </a:lnTo>
                    <a:lnTo>
                      <a:pt x="36576" y="3747"/>
                    </a:lnTo>
                    <a:lnTo>
                      <a:pt x="3239" y="39878"/>
                    </a:lnTo>
                    <a:lnTo>
                      <a:pt x="0" y="37465"/>
                    </a:lnTo>
                    <a:lnTo>
                      <a:pt x="34480" y="0"/>
                    </a:lnTo>
                    <a:lnTo>
                      <a:pt x="38671" y="0"/>
                    </a:lnTo>
                    <a:close/>
                  </a:path>
                </a:pathLst>
              </a:custGeom>
              <a:grpFill/>
              <a:ln w="6350" cap="flat">
                <a:solidFill>
                  <a:srgbClr val="CFD0CE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</p:grpSp>
      </p:grpSp>
      <p:sp>
        <p:nvSpPr>
          <p:cNvPr id="134" name="Rectangle 6">
            <a:extLst>
              <a:ext uri="{FF2B5EF4-FFF2-40B4-BE49-F238E27FC236}">
                <a16:creationId xmlns:a16="http://schemas.microsoft.com/office/drawing/2014/main" id="{9A684274-C089-4AB2-BFEC-75EED3280300}"/>
              </a:ext>
            </a:extLst>
          </p:cNvPr>
          <p:cNvSpPr txBox="1">
            <a:spLocks noChangeArrowheads="1"/>
          </p:cNvSpPr>
          <p:nvPr userDrawn="1"/>
        </p:nvSpPr>
        <p:spPr bwMode="ltGray">
          <a:xfrm>
            <a:off x="10363200" y="203016"/>
            <a:ext cx="592666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sz="700"/>
            </a:lvl1pPr>
          </a:lstStyle>
          <a:p>
            <a:pPr marL="0" marR="0" lvl="0" indent="0" algn="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8D7874BA-B114-4D1F-A449-70AD1C45E88A}" type="slidenum">
              <a:rPr kumimoji="0" lang="en-US" sz="900" b="0" i="0" u="none" strike="noStrike" kern="0" cap="none" spc="0" normalizeH="0" baseline="0" noProof="0" smtClean="0">
                <a:ln>
                  <a:noFill/>
                </a:ln>
                <a:solidFill>
                  <a:srgbClr val="B8B7B9"/>
                </a:solidFill>
                <a:effectLst/>
                <a:uLnTx/>
                <a:uFillTx/>
                <a:ea typeface="MS PGothic" pitchFamily="34" charset="-128"/>
              </a:rPr>
              <a:pPr marL="0" marR="0" lvl="0" indent="0" algn="r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0" cap="none" spc="0" normalizeH="0" baseline="0" noProof="0" dirty="0">
              <a:ln>
                <a:noFill/>
              </a:ln>
              <a:solidFill>
                <a:srgbClr val="B8B7B9"/>
              </a:solidFill>
              <a:effectLst/>
              <a:uLnTx/>
              <a:uFillTx/>
              <a:ea typeface="MS PGothic" pitchFamily="34" charset="-128"/>
            </a:endParaRPr>
          </a:p>
        </p:txBody>
      </p:sp>
      <p:sp>
        <p:nvSpPr>
          <p:cNvPr id="135" name="Freeform: Shape 134">
            <a:extLst>
              <a:ext uri="{FF2B5EF4-FFF2-40B4-BE49-F238E27FC236}">
                <a16:creationId xmlns:a16="http://schemas.microsoft.com/office/drawing/2014/main" id="{0B736019-6C3D-4676-A1FB-36A31E7875B4}"/>
              </a:ext>
            </a:extLst>
          </p:cNvPr>
          <p:cNvSpPr/>
          <p:nvPr userDrawn="1"/>
        </p:nvSpPr>
        <p:spPr>
          <a:xfrm>
            <a:off x="10100761" y="2762"/>
            <a:ext cx="702181" cy="675861"/>
          </a:xfrm>
          <a:custGeom>
            <a:avLst/>
            <a:gdLst>
              <a:gd name="connsiteX0" fmla="*/ 219875 w 702181"/>
              <a:gd name="connsiteY0" fmla="*/ 0 h 675861"/>
              <a:gd name="connsiteX1" fmla="*/ 570965 w 702181"/>
              <a:gd name="connsiteY1" fmla="*/ 0 h 675861"/>
              <a:gd name="connsiteX2" fmla="*/ 702181 w 702181"/>
              <a:gd name="connsiteY2" fmla="*/ 183874 h 675861"/>
              <a:gd name="connsiteX3" fmla="*/ 351091 w 702181"/>
              <a:gd name="connsiteY3" fmla="*/ 675861 h 675861"/>
              <a:gd name="connsiteX4" fmla="*/ 0 w 702181"/>
              <a:gd name="connsiteY4" fmla="*/ 675861 h 675861"/>
              <a:gd name="connsiteX5" fmla="*/ 351091 w 702181"/>
              <a:gd name="connsiteY5" fmla="*/ 183874 h 675861"/>
              <a:gd name="connsiteX6" fmla="*/ 219875 w 702181"/>
              <a:gd name="connsiteY6" fmla="*/ 0 h 675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02181" h="675861">
                <a:moveTo>
                  <a:pt x="219875" y="0"/>
                </a:moveTo>
                <a:lnTo>
                  <a:pt x="570965" y="0"/>
                </a:lnTo>
                <a:lnTo>
                  <a:pt x="702181" y="183874"/>
                </a:lnTo>
                <a:lnTo>
                  <a:pt x="351091" y="675861"/>
                </a:lnTo>
                <a:lnTo>
                  <a:pt x="0" y="675861"/>
                </a:lnTo>
                <a:lnTo>
                  <a:pt x="351091" y="183874"/>
                </a:lnTo>
                <a:lnTo>
                  <a:pt x="219875" y="0"/>
                </a:lnTo>
                <a:close/>
              </a:path>
            </a:pathLst>
          </a:custGeom>
          <a:solidFill>
            <a:srgbClr val="C8C9C7">
              <a:alpha val="9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TCRaleway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206951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s w 3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" name="Object 40" hidden="1">
            <a:extLst>
              <a:ext uri="{FF2B5EF4-FFF2-40B4-BE49-F238E27FC236}">
                <a16:creationId xmlns:a16="http://schemas.microsoft.com/office/drawing/2014/main" id="{917EBC3C-F2FD-4799-BA0A-65D895E6360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83687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41" name="Object 40" hidden="1">
                        <a:extLst>
                          <a:ext uri="{FF2B5EF4-FFF2-40B4-BE49-F238E27FC236}">
                            <a16:creationId xmlns:a16="http://schemas.microsoft.com/office/drawing/2014/main" id="{917EBC3C-F2FD-4799-BA0A-65D895E6360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0" name="Rectangle 39" hidden="1">
            <a:extLst>
              <a:ext uri="{FF2B5EF4-FFF2-40B4-BE49-F238E27FC236}">
                <a16:creationId xmlns:a16="http://schemas.microsoft.com/office/drawing/2014/main" id="{2510D0F0-12AD-45C1-9B94-28859223557D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lnSpc>
                <a:spcPct val="90000"/>
              </a:lnSpc>
              <a:spcBef>
                <a:spcPts val="800"/>
              </a:spcBef>
            </a:pPr>
            <a:endParaRPr lang="en-US" sz="3200" b="0" i="0" baseline="0" dirty="0">
              <a:solidFill>
                <a:schemeClr val="bg1"/>
              </a:solidFill>
              <a:latin typeface="PTCRaleway" panose="020B0503030101060003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3ABE548-101B-4EAC-8CB7-BBD49E60436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add title – keep it brief</a:t>
            </a:r>
          </a:p>
        </p:txBody>
      </p:sp>
      <p:sp>
        <p:nvSpPr>
          <p:cNvPr id="33" name="Text Placeholder 32">
            <a:extLst>
              <a:ext uri="{FF2B5EF4-FFF2-40B4-BE49-F238E27FC236}">
                <a16:creationId xmlns:a16="http://schemas.microsoft.com/office/drawing/2014/main" id="{80B84918-AECE-4E9D-811A-C362EB2F227E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65480" y="2862992"/>
            <a:ext cx="2834640" cy="235449"/>
          </a:xfrm>
        </p:spPr>
        <p:txBody>
          <a:bodyPr anchor="ctr" anchorCtr="0">
            <a:spAutoFit/>
          </a:bodyPr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18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CFDD1C55-CC28-4EF8-AC55-64EE2B45BE57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65163" y="4830063"/>
            <a:ext cx="2835275" cy="502920"/>
          </a:xfrm>
        </p:spPr>
        <p:txBody>
          <a:bodyPr>
            <a:spAutoFit/>
          </a:bodyPr>
          <a:lstStyle>
            <a:lvl1pPr marL="285750" indent="-285750" algn="ctr">
              <a:spcBef>
                <a:spcPts val="600"/>
              </a:spcBef>
              <a:buFontTx/>
              <a:buNone/>
              <a:defRPr sz="16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36" name="Text Placeholder 32">
            <a:extLst>
              <a:ext uri="{FF2B5EF4-FFF2-40B4-BE49-F238E27FC236}">
                <a16:creationId xmlns:a16="http://schemas.microsoft.com/office/drawing/2014/main" id="{CDE670DD-0AD0-49A7-BBB7-6E14E24C352B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4696308" y="2862992"/>
            <a:ext cx="2834640" cy="235449"/>
          </a:xfrm>
        </p:spPr>
        <p:txBody>
          <a:bodyPr anchor="ctr" anchorCtr="0">
            <a:spAutoFit/>
          </a:bodyPr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18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37" name="Text Placeholder 34">
            <a:extLst>
              <a:ext uri="{FF2B5EF4-FFF2-40B4-BE49-F238E27FC236}">
                <a16:creationId xmlns:a16="http://schemas.microsoft.com/office/drawing/2014/main" id="{FC9DE6F9-8E54-4D72-AB42-FB47C6AFD250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695991" y="4830063"/>
            <a:ext cx="2835275" cy="502920"/>
          </a:xfrm>
        </p:spPr>
        <p:txBody>
          <a:bodyPr>
            <a:spAutoFit/>
          </a:bodyPr>
          <a:lstStyle>
            <a:lvl1pPr marL="285750" indent="-285750" algn="ctr">
              <a:spcBef>
                <a:spcPts val="600"/>
              </a:spcBef>
              <a:buFontTx/>
              <a:buNone/>
              <a:defRPr sz="16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38" name="Text Placeholder 32">
            <a:extLst>
              <a:ext uri="{FF2B5EF4-FFF2-40B4-BE49-F238E27FC236}">
                <a16:creationId xmlns:a16="http://schemas.microsoft.com/office/drawing/2014/main" id="{3183D2B9-482A-44BB-9D5F-DBFE89D19F85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8727756" y="2862992"/>
            <a:ext cx="2834640" cy="235449"/>
          </a:xfrm>
        </p:spPr>
        <p:txBody>
          <a:bodyPr anchor="ctr" anchorCtr="0">
            <a:spAutoFit/>
          </a:bodyPr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18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39" name="Text Placeholder 34">
            <a:extLst>
              <a:ext uri="{FF2B5EF4-FFF2-40B4-BE49-F238E27FC236}">
                <a16:creationId xmlns:a16="http://schemas.microsoft.com/office/drawing/2014/main" id="{775FB311-5594-4514-9EFB-DF05142A6E8E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8727439" y="4830063"/>
            <a:ext cx="2835275" cy="502920"/>
          </a:xfrm>
        </p:spPr>
        <p:txBody>
          <a:bodyPr>
            <a:spAutoFit/>
          </a:bodyPr>
          <a:lstStyle>
            <a:lvl1pPr marL="285750" indent="-285750" algn="ctr">
              <a:spcBef>
                <a:spcPts val="600"/>
              </a:spcBef>
              <a:buFontTx/>
              <a:buNone/>
              <a:defRPr sz="16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20" name="Picture Placeholder 6">
            <a:extLst>
              <a:ext uri="{FF2B5EF4-FFF2-40B4-BE49-F238E27FC236}">
                <a16:creationId xmlns:a16="http://schemas.microsoft.com/office/drawing/2014/main" id="{8D4CC7BD-E27E-4EE8-A7DB-4AC115B1C01D}"/>
              </a:ext>
            </a:extLst>
          </p:cNvPr>
          <p:cNvSpPr>
            <a:spLocks noGrp="1"/>
          </p:cNvSpPr>
          <p:nvPr>
            <p:ph type="pic" sz="quarter" idx="39" hasCustomPrompt="1"/>
          </p:nvPr>
        </p:nvSpPr>
        <p:spPr>
          <a:xfrm>
            <a:off x="1775092" y="3754367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Paste icon from PTC PPT Library</a:t>
            </a:r>
          </a:p>
        </p:txBody>
      </p:sp>
      <p:sp>
        <p:nvSpPr>
          <p:cNvPr id="21" name="Picture Placeholder 6">
            <a:extLst>
              <a:ext uri="{FF2B5EF4-FFF2-40B4-BE49-F238E27FC236}">
                <a16:creationId xmlns:a16="http://schemas.microsoft.com/office/drawing/2014/main" id="{F8AD2306-5A92-4FC0-BFA9-0F7016A6CDAB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5805920" y="3754367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Paste icon from PTC PPT Library</a:t>
            </a:r>
          </a:p>
        </p:txBody>
      </p:sp>
      <p:sp>
        <p:nvSpPr>
          <p:cNvPr id="22" name="Picture Placeholder 6">
            <a:extLst>
              <a:ext uri="{FF2B5EF4-FFF2-40B4-BE49-F238E27FC236}">
                <a16:creationId xmlns:a16="http://schemas.microsoft.com/office/drawing/2014/main" id="{B0D23108-9BEB-4E78-980F-330123D90595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9837368" y="3754367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Paste icon from PTC PPT Library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8559386-9143-433E-8318-1171FD2EFC88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1158240" y="1691640"/>
            <a:ext cx="9875520" cy="304699"/>
          </a:xfrm>
          <a:noFill/>
        </p:spPr>
        <p:txBody>
          <a:bodyPr vert="horz" lIns="0" tIns="0" rIns="0" bIns="0" rtlCol="0" anchor="ctr" anchorCtr="0">
            <a:spAutoFit/>
          </a:bodyPr>
          <a:lstStyle>
            <a:lvl1pPr marL="0" indent="0" algn="ctr">
              <a:buFontTx/>
              <a:buNone/>
              <a:defRPr lang="en-US" sz="2200" dirty="0"/>
            </a:lvl1pPr>
          </a:lstStyle>
          <a:p>
            <a:pPr lvl="0"/>
            <a:r>
              <a:rPr lang="en-US" dirty="0"/>
              <a:t>Call out blurb</a:t>
            </a:r>
          </a:p>
        </p:txBody>
      </p:sp>
    </p:spTree>
    <p:extLst>
      <p:ext uri="{BB962C8B-B14F-4D97-AF65-F5344CB8AC3E}">
        <p14:creationId xmlns:p14="http://schemas.microsoft.com/office/powerpoint/2010/main" val="20197724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s w 4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D0DD1B2-3E44-448A-B29D-4BF5525EAF8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925443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CD0DD1B2-3E44-448A-B29D-4BF5525EAF8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B3F8CDBA-3DC1-4B48-9D1F-EF614A8FDDB5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lnSpc>
                <a:spcPct val="90000"/>
              </a:lnSpc>
              <a:spcBef>
                <a:spcPts val="800"/>
              </a:spcBef>
            </a:pPr>
            <a:endParaRPr lang="en-US" sz="3200" b="0" i="0" baseline="0" dirty="0">
              <a:solidFill>
                <a:schemeClr val="bg1"/>
              </a:solidFill>
              <a:latin typeface="PTCRaleway" panose="020B0503030101060003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F0272BA-DF00-4403-901D-E1E0848AA75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add title – keep it brief</a:t>
            </a:r>
          </a:p>
        </p:txBody>
      </p:sp>
      <p:sp>
        <p:nvSpPr>
          <p:cNvPr id="52" name="Text Placeholder 32">
            <a:extLst>
              <a:ext uri="{FF2B5EF4-FFF2-40B4-BE49-F238E27FC236}">
                <a16:creationId xmlns:a16="http://schemas.microsoft.com/office/drawing/2014/main" id="{490C73DF-CFB4-4B5B-92C8-F90E3A62E77F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96903" y="2864755"/>
            <a:ext cx="1936096" cy="209288"/>
          </a:xfrm>
        </p:spPr>
        <p:txBody>
          <a:bodyPr anchor="ctr" anchorCtr="0">
            <a:spAutoFit/>
          </a:bodyPr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53" name="Text Placeholder 34">
            <a:extLst>
              <a:ext uri="{FF2B5EF4-FFF2-40B4-BE49-F238E27FC236}">
                <a16:creationId xmlns:a16="http://schemas.microsoft.com/office/drawing/2014/main" id="{FE00311D-162D-450B-AAB4-212D530B9965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96685" y="4784343"/>
            <a:ext cx="1936532" cy="646331"/>
          </a:xfrm>
        </p:spPr>
        <p:txBody>
          <a:bodyPr>
            <a:spAutoFit/>
          </a:bodyPr>
          <a:lstStyle>
            <a:lvl1pPr marL="285750" indent="-285750" algn="ctr">
              <a:spcBef>
                <a:spcPts val="600"/>
              </a:spcBef>
              <a:buFontTx/>
              <a:buNone/>
              <a:defRPr sz="14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58" name="Text Placeholder 32">
            <a:extLst>
              <a:ext uri="{FF2B5EF4-FFF2-40B4-BE49-F238E27FC236}">
                <a16:creationId xmlns:a16="http://schemas.microsoft.com/office/drawing/2014/main" id="{9D12CB28-EBBA-4213-84C3-27EE8E1195B3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666655" y="2864755"/>
            <a:ext cx="1936096" cy="209288"/>
          </a:xfrm>
        </p:spPr>
        <p:txBody>
          <a:bodyPr anchor="ctr" anchorCtr="0">
            <a:spAutoFit/>
          </a:bodyPr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59" name="Text Placeholder 34">
            <a:extLst>
              <a:ext uri="{FF2B5EF4-FFF2-40B4-BE49-F238E27FC236}">
                <a16:creationId xmlns:a16="http://schemas.microsoft.com/office/drawing/2014/main" id="{A8089C8B-DB33-4F20-A90E-29D5706AC690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3666437" y="4784343"/>
            <a:ext cx="1936532" cy="646331"/>
          </a:xfrm>
        </p:spPr>
        <p:txBody>
          <a:bodyPr>
            <a:spAutoFit/>
          </a:bodyPr>
          <a:lstStyle>
            <a:lvl1pPr marL="285750" indent="-285750" algn="ctr">
              <a:spcBef>
                <a:spcPts val="600"/>
              </a:spcBef>
              <a:buFontTx/>
              <a:buNone/>
              <a:defRPr sz="14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61" name="Text Placeholder 32">
            <a:extLst>
              <a:ext uri="{FF2B5EF4-FFF2-40B4-BE49-F238E27FC236}">
                <a16:creationId xmlns:a16="http://schemas.microsoft.com/office/drawing/2014/main" id="{16964035-D680-41E2-BCE6-EDBF1662979F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6631277" y="2864755"/>
            <a:ext cx="1936096" cy="209288"/>
          </a:xfrm>
        </p:spPr>
        <p:txBody>
          <a:bodyPr anchor="ctr" anchorCtr="0">
            <a:spAutoFit/>
          </a:bodyPr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62" name="Text Placeholder 34">
            <a:extLst>
              <a:ext uri="{FF2B5EF4-FFF2-40B4-BE49-F238E27FC236}">
                <a16:creationId xmlns:a16="http://schemas.microsoft.com/office/drawing/2014/main" id="{F7D72ACE-A6E3-49BA-B635-B4FF555C66B6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6631059" y="4784343"/>
            <a:ext cx="1936532" cy="646331"/>
          </a:xfrm>
        </p:spPr>
        <p:txBody>
          <a:bodyPr>
            <a:spAutoFit/>
          </a:bodyPr>
          <a:lstStyle>
            <a:lvl1pPr marL="285750" indent="-285750" algn="ctr">
              <a:spcBef>
                <a:spcPts val="600"/>
              </a:spcBef>
              <a:buFontTx/>
              <a:buNone/>
              <a:defRPr sz="14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64" name="Text Placeholder 32">
            <a:extLst>
              <a:ext uri="{FF2B5EF4-FFF2-40B4-BE49-F238E27FC236}">
                <a16:creationId xmlns:a16="http://schemas.microsoft.com/office/drawing/2014/main" id="{41F1B747-4A09-4131-B94D-7B72FE0ADA1F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9580269" y="2864755"/>
            <a:ext cx="1936096" cy="209288"/>
          </a:xfrm>
        </p:spPr>
        <p:txBody>
          <a:bodyPr anchor="ctr" anchorCtr="0">
            <a:spAutoFit/>
          </a:bodyPr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65" name="Text Placeholder 34">
            <a:extLst>
              <a:ext uri="{FF2B5EF4-FFF2-40B4-BE49-F238E27FC236}">
                <a16:creationId xmlns:a16="http://schemas.microsoft.com/office/drawing/2014/main" id="{4B4EBABA-E6CB-464F-9FBA-E5F9B03A37E8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9580051" y="4784343"/>
            <a:ext cx="1936532" cy="646331"/>
          </a:xfrm>
        </p:spPr>
        <p:txBody>
          <a:bodyPr>
            <a:spAutoFit/>
          </a:bodyPr>
          <a:lstStyle>
            <a:lvl1pPr marL="285750" indent="-285750" algn="ctr">
              <a:spcBef>
                <a:spcPts val="600"/>
              </a:spcBef>
              <a:buFontTx/>
              <a:buNone/>
              <a:defRPr sz="14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25" name="Picture Placeholder 6">
            <a:extLst>
              <a:ext uri="{FF2B5EF4-FFF2-40B4-BE49-F238E27FC236}">
                <a16:creationId xmlns:a16="http://schemas.microsoft.com/office/drawing/2014/main" id="{1AEB5892-C8FD-4265-8F93-69E01BC959CC}"/>
              </a:ext>
            </a:extLst>
          </p:cNvPr>
          <p:cNvSpPr>
            <a:spLocks noGrp="1"/>
          </p:cNvSpPr>
          <p:nvPr>
            <p:ph type="pic" sz="quarter" idx="39" hasCustomPrompt="1"/>
          </p:nvPr>
        </p:nvSpPr>
        <p:spPr>
          <a:xfrm>
            <a:off x="1357243" y="3730183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Paste icon from PTC PPT Library</a:t>
            </a:r>
          </a:p>
        </p:txBody>
      </p:sp>
      <p:sp>
        <p:nvSpPr>
          <p:cNvPr id="26" name="Picture Placeholder 6">
            <a:extLst>
              <a:ext uri="{FF2B5EF4-FFF2-40B4-BE49-F238E27FC236}">
                <a16:creationId xmlns:a16="http://schemas.microsoft.com/office/drawing/2014/main" id="{FA7A40C7-5620-4D59-8DE5-CA304D9A962A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4326995" y="3730183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/>
              <a:t>Paste icon from PTC PPT Library</a:t>
            </a:r>
          </a:p>
        </p:txBody>
      </p:sp>
      <p:sp>
        <p:nvSpPr>
          <p:cNvPr id="27" name="Picture Placeholder 6">
            <a:extLst>
              <a:ext uri="{FF2B5EF4-FFF2-40B4-BE49-F238E27FC236}">
                <a16:creationId xmlns:a16="http://schemas.microsoft.com/office/drawing/2014/main" id="{4F6992F5-14F1-443B-A56F-0DAFD3A17D10}"/>
              </a:ext>
            </a:extLst>
          </p:cNvPr>
          <p:cNvSpPr>
            <a:spLocks noGrp="1"/>
          </p:cNvSpPr>
          <p:nvPr>
            <p:ph type="pic" sz="quarter" idx="36" hasCustomPrompt="1"/>
          </p:nvPr>
        </p:nvSpPr>
        <p:spPr>
          <a:xfrm>
            <a:off x="10240609" y="3730183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/>
              <a:t>Paste icon from PTC PPT Library</a:t>
            </a:r>
          </a:p>
        </p:txBody>
      </p:sp>
      <p:sp>
        <p:nvSpPr>
          <p:cNvPr id="28" name="Picture Placeholder 6">
            <a:extLst>
              <a:ext uri="{FF2B5EF4-FFF2-40B4-BE49-F238E27FC236}">
                <a16:creationId xmlns:a16="http://schemas.microsoft.com/office/drawing/2014/main" id="{475F2538-CC6F-47C5-8E22-46B3CA1900DD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7291617" y="3730183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/>
              <a:t>Paste icon from PTC PPT Library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3CCFC8A-0256-42C2-A3A7-09FD853D84AF}"/>
              </a:ext>
            </a:extLst>
          </p:cNvPr>
          <p:cNvSpPr>
            <a:spLocks noGrp="1"/>
          </p:cNvSpPr>
          <p:nvPr userDrawn="1">
            <p:ph type="body" sz="quarter" idx="42" hasCustomPrompt="1"/>
          </p:nvPr>
        </p:nvSpPr>
        <p:spPr>
          <a:xfrm>
            <a:off x="1158240" y="1691640"/>
            <a:ext cx="9875520" cy="304699"/>
          </a:xfrm>
        </p:spPr>
        <p:txBody>
          <a:bodyPr anchor="ctr" anchorCtr="0">
            <a:spAutoFit/>
          </a:bodyPr>
          <a:lstStyle>
            <a:lvl1pPr marL="0" indent="0" algn="ctr">
              <a:buFontTx/>
              <a:buNone/>
              <a:defRPr sz="2200"/>
            </a:lvl1pPr>
          </a:lstStyle>
          <a:p>
            <a:pPr lvl="0"/>
            <a:r>
              <a:rPr lang="en-US" dirty="0"/>
              <a:t>Call out blurb</a:t>
            </a:r>
          </a:p>
        </p:txBody>
      </p:sp>
    </p:spTree>
    <p:extLst>
      <p:ext uri="{BB962C8B-B14F-4D97-AF65-F5344CB8AC3E}">
        <p14:creationId xmlns:p14="http://schemas.microsoft.com/office/powerpoint/2010/main" val="15988684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s w 5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2B6A4F4D-6AC9-472A-A2AB-2099BEC9F3B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351720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2B6A4F4D-6AC9-472A-A2AB-2099BEC9F3B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11AB3B7A-7D2B-4440-A050-8E1A9F7ACE42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lnSpc>
                <a:spcPct val="90000"/>
              </a:lnSpc>
              <a:spcBef>
                <a:spcPts val="800"/>
              </a:spcBef>
            </a:pPr>
            <a:endParaRPr lang="en-US" sz="3200" b="0" i="0" baseline="0" dirty="0">
              <a:solidFill>
                <a:schemeClr val="bg1"/>
              </a:solidFill>
              <a:latin typeface="PTCRaleway" panose="020B0503030101060003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60" name="Text Placeholder 32">
            <a:extLst>
              <a:ext uri="{FF2B5EF4-FFF2-40B4-BE49-F238E27FC236}">
                <a16:creationId xmlns:a16="http://schemas.microsoft.com/office/drawing/2014/main" id="{20840560-1C1B-4438-8E2A-EB45F76A414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81112" y="2866929"/>
            <a:ext cx="1600079" cy="209288"/>
          </a:xfrm>
        </p:spPr>
        <p:txBody>
          <a:bodyPr vert="horz" lIns="0" tIns="0" rIns="0" bIns="0" rtlCol="0" anchor="ctr" anchorCtr="0">
            <a:spAutoFit/>
          </a:bodyPr>
          <a:lstStyle>
            <a:lvl1pPr marL="342900" indent="-342900">
              <a:buFontTx/>
              <a:buNone/>
              <a:defRPr lang="en-US" sz="1600" b="1" dirty="0"/>
            </a:lvl1pPr>
          </a:lstStyle>
          <a:p>
            <a:pPr marL="0" lvl="0" indent="0" algn="ctr">
              <a:lnSpc>
                <a:spcPct val="85000"/>
              </a:lnSpc>
              <a:spcBef>
                <a:spcPts val="0"/>
              </a:spcBef>
              <a:buNone/>
            </a:pPr>
            <a:r>
              <a:rPr lang="en-US" dirty="0"/>
              <a:t>Add title</a:t>
            </a:r>
          </a:p>
        </p:txBody>
      </p:sp>
      <p:sp>
        <p:nvSpPr>
          <p:cNvPr id="61" name="Text Placeholder 34">
            <a:extLst>
              <a:ext uri="{FF2B5EF4-FFF2-40B4-BE49-F238E27FC236}">
                <a16:creationId xmlns:a16="http://schemas.microsoft.com/office/drawing/2014/main" id="{22B560B1-F704-4710-8C69-EF14EBFC200A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580931" y="4747766"/>
            <a:ext cx="1600440" cy="553998"/>
          </a:xfrm>
        </p:spPr>
        <p:txBody>
          <a:bodyPr>
            <a:spAutoFit/>
          </a:bodyPr>
          <a:lstStyle>
            <a:lvl1pPr marL="171450" indent="-171450" algn="ctr">
              <a:spcBef>
                <a:spcPts val="600"/>
              </a:spcBef>
              <a:buFontTx/>
              <a:buNone/>
              <a:defRPr sz="12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0D3815E-B933-4FE0-A09F-E868666F8E0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add title – keep it brief</a:t>
            </a:r>
          </a:p>
        </p:txBody>
      </p:sp>
      <p:sp>
        <p:nvSpPr>
          <p:cNvPr id="62" name="Text Placeholder 32">
            <a:extLst>
              <a:ext uri="{FF2B5EF4-FFF2-40B4-BE49-F238E27FC236}">
                <a16:creationId xmlns:a16="http://schemas.microsoft.com/office/drawing/2014/main" id="{D500394C-3BD7-456E-94D6-9CC3674F8101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2905212" y="2866929"/>
            <a:ext cx="1600079" cy="209288"/>
          </a:xfrm>
        </p:spPr>
        <p:txBody>
          <a:bodyPr vert="horz" lIns="0" tIns="0" rIns="0" bIns="0" rtlCol="0" anchor="ctr" anchorCtr="0">
            <a:spAutoFit/>
          </a:bodyPr>
          <a:lstStyle>
            <a:lvl1pPr marL="342900" indent="-342900">
              <a:buFontTx/>
              <a:buNone/>
              <a:defRPr lang="en-US" sz="1600" b="1" dirty="0"/>
            </a:lvl1pPr>
          </a:lstStyle>
          <a:p>
            <a:pPr marL="0" lvl="0" indent="0" algn="ctr">
              <a:lnSpc>
                <a:spcPct val="85000"/>
              </a:lnSpc>
              <a:spcBef>
                <a:spcPts val="0"/>
              </a:spcBef>
              <a:buNone/>
            </a:pPr>
            <a:r>
              <a:rPr lang="en-US" dirty="0"/>
              <a:t>Add title</a:t>
            </a:r>
          </a:p>
        </p:txBody>
      </p:sp>
      <p:sp>
        <p:nvSpPr>
          <p:cNvPr id="63" name="Text Placeholder 34">
            <a:extLst>
              <a:ext uri="{FF2B5EF4-FFF2-40B4-BE49-F238E27FC236}">
                <a16:creationId xmlns:a16="http://schemas.microsoft.com/office/drawing/2014/main" id="{7B743BCC-ADA1-41CD-AA72-A7C3259B7BF6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2905031" y="4747766"/>
            <a:ext cx="1600440" cy="553998"/>
          </a:xfrm>
        </p:spPr>
        <p:txBody>
          <a:bodyPr>
            <a:spAutoFit/>
          </a:bodyPr>
          <a:lstStyle>
            <a:lvl1pPr marL="171450" indent="-171450" algn="ctr">
              <a:spcBef>
                <a:spcPts val="600"/>
              </a:spcBef>
              <a:buFontTx/>
              <a:buNone/>
              <a:defRPr sz="12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65" name="Text Placeholder 32">
            <a:extLst>
              <a:ext uri="{FF2B5EF4-FFF2-40B4-BE49-F238E27FC236}">
                <a16:creationId xmlns:a16="http://schemas.microsoft.com/office/drawing/2014/main" id="{9CF14A49-B79D-4241-8D6E-A9AF33915456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5153112" y="2866929"/>
            <a:ext cx="1600079" cy="209288"/>
          </a:xfrm>
        </p:spPr>
        <p:txBody>
          <a:bodyPr vert="horz" lIns="0" tIns="0" rIns="0" bIns="0" rtlCol="0" anchor="ctr" anchorCtr="0">
            <a:spAutoFit/>
          </a:bodyPr>
          <a:lstStyle>
            <a:lvl1pPr marL="342900" indent="-342900">
              <a:buFontTx/>
              <a:buNone/>
              <a:defRPr lang="en-US" sz="1600" b="1" dirty="0"/>
            </a:lvl1pPr>
          </a:lstStyle>
          <a:p>
            <a:pPr marL="0" lvl="0" indent="0" algn="ctr">
              <a:lnSpc>
                <a:spcPct val="85000"/>
              </a:lnSpc>
              <a:spcBef>
                <a:spcPts val="0"/>
              </a:spcBef>
              <a:buNone/>
            </a:pPr>
            <a:r>
              <a:rPr lang="en-US" dirty="0"/>
              <a:t>Add title</a:t>
            </a:r>
          </a:p>
        </p:txBody>
      </p:sp>
      <p:sp>
        <p:nvSpPr>
          <p:cNvPr id="66" name="Text Placeholder 34">
            <a:extLst>
              <a:ext uri="{FF2B5EF4-FFF2-40B4-BE49-F238E27FC236}">
                <a16:creationId xmlns:a16="http://schemas.microsoft.com/office/drawing/2014/main" id="{F1158342-69C8-4371-BCD8-53A5098B2405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5152931" y="4747766"/>
            <a:ext cx="1600440" cy="553998"/>
          </a:xfrm>
        </p:spPr>
        <p:txBody>
          <a:bodyPr>
            <a:spAutoFit/>
          </a:bodyPr>
          <a:lstStyle>
            <a:lvl1pPr marL="171450" indent="-171450" algn="ctr">
              <a:spcBef>
                <a:spcPts val="600"/>
              </a:spcBef>
              <a:buFontTx/>
              <a:buNone/>
              <a:defRPr sz="12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68" name="Text Placeholder 32">
            <a:extLst>
              <a:ext uri="{FF2B5EF4-FFF2-40B4-BE49-F238E27FC236}">
                <a16:creationId xmlns:a16="http://schemas.microsoft.com/office/drawing/2014/main" id="{3194E8C5-CF18-4462-8B5C-F283EC3A1D10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7515312" y="2866929"/>
            <a:ext cx="1600079" cy="209288"/>
          </a:xfrm>
        </p:spPr>
        <p:txBody>
          <a:bodyPr vert="horz" lIns="0" tIns="0" rIns="0" bIns="0" rtlCol="0" anchor="ctr" anchorCtr="0">
            <a:spAutoFit/>
          </a:bodyPr>
          <a:lstStyle>
            <a:lvl1pPr marL="342900" indent="-342900">
              <a:buFontTx/>
              <a:buNone/>
              <a:defRPr lang="en-US" sz="1600" b="1" dirty="0"/>
            </a:lvl1pPr>
          </a:lstStyle>
          <a:p>
            <a:pPr marL="0" lvl="0" indent="0" algn="ctr">
              <a:lnSpc>
                <a:spcPct val="85000"/>
              </a:lnSpc>
              <a:spcBef>
                <a:spcPts val="0"/>
              </a:spcBef>
              <a:buNone/>
            </a:pPr>
            <a:r>
              <a:rPr lang="en-US" dirty="0"/>
              <a:t>Add title</a:t>
            </a:r>
          </a:p>
        </p:txBody>
      </p:sp>
      <p:sp>
        <p:nvSpPr>
          <p:cNvPr id="69" name="Text Placeholder 34">
            <a:extLst>
              <a:ext uri="{FF2B5EF4-FFF2-40B4-BE49-F238E27FC236}">
                <a16:creationId xmlns:a16="http://schemas.microsoft.com/office/drawing/2014/main" id="{B89299B9-EADF-480C-9DBB-4D26BDCEEB13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7515131" y="4747766"/>
            <a:ext cx="1600440" cy="553998"/>
          </a:xfrm>
        </p:spPr>
        <p:txBody>
          <a:bodyPr>
            <a:spAutoFit/>
          </a:bodyPr>
          <a:lstStyle>
            <a:lvl1pPr marL="171450" indent="-171450" algn="ctr">
              <a:spcBef>
                <a:spcPts val="600"/>
              </a:spcBef>
              <a:buFontTx/>
              <a:buNone/>
              <a:defRPr sz="12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71" name="Text Placeholder 32">
            <a:extLst>
              <a:ext uri="{FF2B5EF4-FFF2-40B4-BE49-F238E27FC236}">
                <a16:creationId xmlns:a16="http://schemas.microsoft.com/office/drawing/2014/main" id="{11BE195C-EFC1-43CC-ABE3-385CD2DBC419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9877512" y="2866929"/>
            <a:ext cx="1600079" cy="209288"/>
          </a:xfrm>
        </p:spPr>
        <p:txBody>
          <a:bodyPr vert="horz" lIns="0" tIns="0" rIns="0" bIns="0" rtlCol="0" anchor="ctr" anchorCtr="0">
            <a:spAutoFit/>
          </a:bodyPr>
          <a:lstStyle>
            <a:lvl1pPr marL="342900" indent="-342900">
              <a:buFontTx/>
              <a:buNone/>
              <a:defRPr lang="en-US" sz="1600" b="1" dirty="0"/>
            </a:lvl1pPr>
          </a:lstStyle>
          <a:p>
            <a:pPr marL="0" lvl="0" indent="0" algn="ctr">
              <a:lnSpc>
                <a:spcPct val="85000"/>
              </a:lnSpc>
              <a:spcBef>
                <a:spcPts val="0"/>
              </a:spcBef>
              <a:buNone/>
            </a:pPr>
            <a:r>
              <a:rPr lang="en-US" dirty="0"/>
              <a:t>Add title</a:t>
            </a:r>
          </a:p>
        </p:txBody>
      </p:sp>
      <p:sp>
        <p:nvSpPr>
          <p:cNvPr id="72" name="Text Placeholder 34">
            <a:extLst>
              <a:ext uri="{FF2B5EF4-FFF2-40B4-BE49-F238E27FC236}">
                <a16:creationId xmlns:a16="http://schemas.microsoft.com/office/drawing/2014/main" id="{30EA21AF-635A-488B-AD35-F2C5617816C9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9877331" y="4747766"/>
            <a:ext cx="1600440" cy="553998"/>
          </a:xfrm>
        </p:spPr>
        <p:txBody>
          <a:bodyPr>
            <a:spAutoFit/>
          </a:bodyPr>
          <a:lstStyle>
            <a:lvl1pPr marL="171450" indent="-171450" algn="ctr">
              <a:spcBef>
                <a:spcPts val="600"/>
              </a:spcBef>
              <a:buFontTx/>
              <a:buNone/>
              <a:defRPr sz="12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C7CB6BC-C8A7-4A75-A6B9-B1FF1BBFBC80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1158240" y="1691640"/>
            <a:ext cx="9875520" cy="304699"/>
          </a:xfrm>
        </p:spPr>
        <p:txBody>
          <a:bodyPr vert="horz" wrap="square" lIns="0" tIns="0" rIns="0" bIns="0" rtlCol="0" anchor="ctr" anchorCtr="0">
            <a:spAutoFit/>
          </a:bodyPr>
          <a:lstStyle>
            <a:lvl1pPr>
              <a:defRPr lang="en-US" sz="2200" dirty="0"/>
            </a:lvl1pPr>
          </a:lstStyle>
          <a:p>
            <a:pPr marL="0" lvl="0" indent="0" algn="ctr">
              <a:buNone/>
            </a:pPr>
            <a:r>
              <a:rPr lang="en-US" dirty="0"/>
              <a:t>Call out blurb</a:t>
            </a:r>
          </a:p>
        </p:txBody>
      </p:sp>
      <p:sp>
        <p:nvSpPr>
          <p:cNvPr id="34" name="Picture Placeholder 6">
            <a:extLst>
              <a:ext uri="{FF2B5EF4-FFF2-40B4-BE49-F238E27FC236}">
                <a16:creationId xmlns:a16="http://schemas.microsoft.com/office/drawing/2014/main" id="{3523CA84-618D-4DD3-990C-F1CC2C9DA5C7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1073443" y="3741934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/>
              <a:t>Paste icon from PTC PPT Library</a:t>
            </a:r>
          </a:p>
        </p:txBody>
      </p:sp>
      <p:sp>
        <p:nvSpPr>
          <p:cNvPr id="35" name="Picture Placeholder 6">
            <a:extLst>
              <a:ext uri="{FF2B5EF4-FFF2-40B4-BE49-F238E27FC236}">
                <a16:creationId xmlns:a16="http://schemas.microsoft.com/office/drawing/2014/main" id="{00C3A2E6-6C10-45B7-A881-66676E6B3403}"/>
              </a:ext>
            </a:extLst>
          </p:cNvPr>
          <p:cNvSpPr>
            <a:spLocks noGrp="1"/>
          </p:cNvSpPr>
          <p:nvPr>
            <p:ph type="pic" sz="quarter" idx="42" hasCustomPrompt="1"/>
          </p:nvPr>
        </p:nvSpPr>
        <p:spPr>
          <a:xfrm>
            <a:off x="3397543" y="3741934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Paste icon from PTC PPT Library</a:t>
            </a:r>
          </a:p>
        </p:txBody>
      </p:sp>
      <p:sp>
        <p:nvSpPr>
          <p:cNvPr id="36" name="Picture Placeholder 6">
            <a:extLst>
              <a:ext uri="{FF2B5EF4-FFF2-40B4-BE49-F238E27FC236}">
                <a16:creationId xmlns:a16="http://schemas.microsoft.com/office/drawing/2014/main" id="{C485E4FD-70C7-4930-A59E-249272568A6A}"/>
              </a:ext>
            </a:extLst>
          </p:cNvPr>
          <p:cNvSpPr>
            <a:spLocks noGrp="1"/>
          </p:cNvSpPr>
          <p:nvPr>
            <p:ph type="pic" sz="quarter" idx="43" hasCustomPrompt="1"/>
          </p:nvPr>
        </p:nvSpPr>
        <p:spPr>
          <a:xfrm>
            <a:off x="8007643" y="3741934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/>
              <a:t>Paste icon from PTC PPT Library</a:t>
            </a:r>
          </a:p>
        </p:txBody>
      </p:sp>
      <p:sp>
        <p:nvSpPr>
          <p:cNvPr id="37" name="Picture Placeholder 6">
            <a:extLst>
              <a:ext uri="{FF2B5EF4-FFF2-40B4-BE49-F238E27FC236}">
                <a16:creationId xmlns:a16="http://schemas.microsoft.com/office/drawing/2014/main" id="{49C1F186-5A53-49CB-AEEA-AB482BCE273E}"/>
              </a:ext>
            </a:extLst>
          </p:cNvPr>
          <p:cNvSpPr>
            <a:spLocks noGrp="1"/>
          </p:cNvSpPr>
          <p:nvPr>
            <p:ph type="pic" sz="quarter" idx="44" hasCustomPrompt="1"/>
          </p:nvPr>
        </p:nvSpPr>
        <p:spPr>
          <a:xfrm>
            <a:off x="5645443" y="3741934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Paste icon from PTC PPT Library</a:t>
            </a:r>
          </a:p>
        </p:txBody>
      </p:sp>
      <p:sp>
        <p:nvSpPr>
          <p:cNvPr id="38" name="Picture Placeholder 6">
            <a:extLst>
              <a:ext uri="{FF2B5EF4-FFF2-40B4-BE49-F238E27FC236}">
                <a16:creationId xmlns:a16="http://schemas.microsoft.com/office/drawing/2014/main" id="{C79F9822-25A0-4B06-ABEB-694778C95E00}"/>
              </a:ext>
            </a:extLst>
          </p:cNvPr>
          <p:cNvSpPr>
            <a:spLocks noGrp="1"/>
          </p:cNvSpPr>
          <p:nvPr>
            <p:ph type="pic" sz="quarter" idx="45" hasCustomPrompt="1"/>
          </p:nvPr>
        </p:nvSpPr>
        <p:spPr>
          <a:xfrm>
            <a:off x="10369843" y="3741934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Paste icon from PTC PPT Library</a:t>
            </a:r>
          </a:p>
        </p:txBody>
      </p:sp>
    </p:spTree>
    <p:extLst>
      <p:ext uri="{BB962C8B-B14F-4D97-AF65-F5344CB8AC3E}">
        <p14:creationId xmlns:p14="http://schemas.microsoft.com/office/powerpoint/2010/main" val="39785925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Media Placeholder 5">
            <a:extLst>
              <a:ext uri="{FF2B5EF4-FFF2-40B4-BE49-F238E27FC236}">
                <a16:creationId xmlns:a16="http://schemas.microsoft.com/office/drawing/2014/main" id="{5B05F195-396D-4D83-8F33-F626D282E766}"/>
              </a:ext>
            </a:extLst>
          </p:cNvPr>
          <p:cNvSpPr>
            <a:spLocks noGrp="1"/>
          </p:cNvSpPr>
          <p:nvPr>
            <p:ph type="media" sz="quarter" idx="10" hasCustomPrompt="1"/>
          </p:nvPr>
        </p:nvSpPr>
        <p:spPr>
          <a:xfrm>
            <a:off x="1731513" y="1439765"/>
            <a:ext cx="8728974" cy="4922935"/>
          </a:xfrm>
          <a:ln>
            <a:solidFill>
              <a:schemeClr val="bg2"/>
            </a:solidFill>
          </a:ln>
        </p:spPr>
        <p:txBody>
          <a:bodyPr vert="horz" lIns="0" tIns="0" rIns="0" bIns="731520" rtlCol="0" anchor="ctr" anchorCtr="0">
            <a:noAutofit/>
          </a:bodyPr>
          <a:lstStyle>
            <a:lvl1pPr marL="0" indent="0" algn="ctr">
              <a:buFontTx/>
              <a:buNone/>
              <a:defRPr lang="en-US">
                <a:solidFill>
                  <a:schemeClr val="accent5"/>
                </a:solidFill>
              </a:defRPr>
            </a:lvl1pPr>
          </a:lstStyle>
          <a:p>
            <a:r>
              <a:rPr lang="en-US" dirty="0"/>
              <a:t>Click media icon to add video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DBEAE63A-39ED-4825-AFB2-206AF22C559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</p:spTree>
    <p:extLst>
      <p:ext uri="{BB962C8B-B14F-4D97-AF65-F5344CB8AC3E}">
        <p14:creationId xmlns:p14="http://schemas.microsoft.com/office/powerpoint/2010/main" val="11689664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94C2D668-A66C-4169-B72A-C6DE8266140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alphaModFix amt="3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88960" cy="6858000"/>
          </a:xfrm>
          <a:prstGeom prst="rect">
            <a:avLst/>
          </a:prstGeom>
        </p:spPr>
      </p:pic>
      <p:sp>
        <p:nvSpPr>
          <p:cNvPr id="25" name="Rectangle: Rounded Corners 24">
            <a:extLst>
              <a:ext uri="{FF2B5EF4-FFF2-40B4-BE49-F238E27FC236}">
                <a16:creationId xmlns:a16="http://schemas.microsoft.com/office/drawing/2014/main" id="{940A4664-7303-44CA-9BE8-4A22FD0D7EBF}"/>
              </a:ext>
            </a:extLst>
          </p:cNvPr>
          <p:cNvSpPr/>
          <p:nvPr userDrawn="1"/>
        </p:nvSpPr>
        <p:spPr>
          <a:xfrm rot="18679580">
            <a:off x="5571697" y="2250091"/>
            <a:ext cx="5236260" cy="1832698"/>
          </a:xfrm>
          <a:prstGeom prst="roundRect">
            <a:avLst/>
          </a:prstGeom>
          <a:solidFill>
            <a:srgbClr val="F8F9FA">
              <a:alpha val="64000"/>
            </a:srgbClr>
          </a:solidFill>
          <a:ln>
            <a:noFill/>
          </a:ln>
          <a:effectLst>
            <a:softEdge rad="4445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bg1"/>
              </a:solidFill>
            </a:endParaRPr>
          </a:p>
        </p:txBody>
      </p:sp>
      <p:sp>
        <p:nvSpPr>
          <p:cNvPr id="23" name="Rectangle: Rounded Corners 22">
            <a:extLst>
              <a:ext uri="{FF2B5EF4-FFF2-40B4-BE49-F238E27FC236}">
                <a16:creationId xmlns:a16="http://schemas.microsoft.com/office/drawing/2014/main" id="{010A2FC2-4C43-4567-9BC7-9E1FB152702F}"/>
              </a:ext>
            </a:extLst>
          </p:cNvPr>
          <p:cNvSpPr/>
          <p:nvPr userDrawn="1"/>
        </p:nvSpPr>
        <p:spPr>
          <a:xfrm>
            <a:off x="1817683" y="2478001"/>
            <a:ext cx="5236260" cy="1832698"/>
          </a:xfrm>
          <a:prstGeom prst="roundRect">
            <a:avLst/>
          </a:prstGeom>
          <a:gradFill>
            <a:gsLst>
              <a:gs pos="0">
                <a:srgbClr val="F0F2F6"/>
              </a:gs>
              <a:gs pos="100000">
                <a:srgbClr val="F0F2F5"/>
              </a:gs>
            </a:gsLst>
            <a:lin ang="5400000" scaled="1"/>
          </a:gradFill>
          <a:ln>
            <a:noFill/>
          </a:ln>
          <a:effectLst>
            <a:softEdge rad="4445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bg1"/>
              </a:solidFill>
            </a:endParaRPr>
          </a:p>
        </p:txBody>
      </p:sp>
      <p:sp>
        <p:nvSpPr>
          <p:cNvPr id="22" name="Title 21"/>
          <p:cNvSpPr>
            <a:spLocks noGrp="1"/>
          </p:cNvSpPr>
          <p:nvPr>
            <p:ph type="title" hasCustomPrompt="1"/>
          </p:nvPr>
        </p:nvSpPr>
        <p:spPr bwMode="gray">
          <a:xfrm>
            <a:off x="2665327" y="3088211"/>
            <a:ext cx="8869680" cy="692497"/>
          </a:xfrm>
        </p:spPr>
        <p:txBody>
          <a:bodyPr anchor="ctr" anchorCtr="0">
            <a:spAutoFit/>
          </a:bodyPr>
          <a:lstStyle>
            <a:lvl1pPr algn="l">
              <a:lnSpc>
                <a:spcPct val="100000"/>
              </a:lnSpc>
              <a:defRPr lang="en-US" sz="5000" b="1" dirty="0">
                <a:solidFill>
                  <a:schemeClr val="tx1"/>
                </a:solidFill>
              </a:defRPr>
            </a:lvl1pPr>
          </a:lstStyle>
          <a:p>
            <a:pPr marL="0" lvl="0">
              <a:lnSpc>
                <a:spcPct val="90000"/>
              </a:lnSpc>
              <a:spcBef>
                <a:spcPts val="1200"/>
              </a:spcBef>
            </a:pPr>
            <a:r>
              <a:rPr lang="en-US" dirty="0"/>
              <a:t>Divider – 1 line of text</a:t>
            </a:r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7C7F3B32-EE76-44C5-8359-BC4ACEC00C40}"/>
              </a:ext>
            </a:extLst>
          </p:cNvPr>
          <p:cNvGrpSpPr/>
          <p:nvPr userDrawn="1"/>
        </p:nvGrpSpPr>
        <p:grpSpPr>
          <a:xfrm>
            <a:off x="0" y="3166440"/>
            <a:ext cx="2455333" cy="537112"/>
            <a:chOff x="0" y="3161621"/>
            <a:chExt cx="2455333" cy="537112"/>
          </a:xfrm>
        </p:grpSpPr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DF2B67A1-EE4B-45BF-9BBC-A9A3AB5F7F53}"/>
                </a:ext>
              </a:extLst>
            </p:cNvPr>
            <p:cNvSpPr/>
            <p:nvPr userDrawn="1"/>
          </p:nvSpPr>
          <p:spPr>
            <a:xfrm>
              <a:off x="0" y="3161621"/>
              <a:ext cx="2455333" cy="537112"/>
            </a:xfrm>
            <a:prstGeom prst="rect">
              <a:avLst/>
            </a:prstGeom>
            <a:solidFill>
              <a:srgbClr val="7BC15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s-PE">
                <a:solidFill>
                  <a:schemeClr val="bg1"/>
                </a:solidFill>
              </a:endParaRPr>
            </a:p>
          </p:txBody>
        </p:sp>
        <p:sp>
          <p:nvSpPr>
            <p:cNvPr id="50" name="Freeform: Shape 49">
              <a:extLst>
                <a:ext uri="{FF2B5EF4-FFF2-40B4-BE49-F238E27FC236}">
                  <a16:creationId xmlns:a16="http://schemas.microsoft.com/office/drawing/2014/main" id="{95DA7B0E-0DF0-4795-BC40-8582B80C8C7D}"/>
                </a:ext>
              </a:extLst>
            </p:cNvPr>
            <p:cNvSpPr/>
            <p:nvPr userDrawn="1"/>
          </p:nvSpPr>
          <p:spPr>
            <a:xfrm rot="16200000" flipH="1">
              <a:off x="310000" y="3115270"/>
              <a:ext cx="4756" cy="274320"/>
            </a:xfrm>
            <a:custGeom>
              <a:avLst/>
              <a:gdLst>
                <a:gd name="connsiteX0" fmla="*/ 0 w 19050"/>
                <a:gd name="connsiteY0" fmla="*/ 0 h 732567"/>
                <a:gd name="connsiteX1" fmla="*/ 19050 w 19050"/>
                <a:gd name="connsiteY1" fmla="*/ 0 h 732567"/>
                <a:gd name="connsiteX2" fmla="*/ 19050 w 19050"/>
                <a:gd name="connsiteY2" fmla="*/ 732568 h 732567"/>
                <a:gd name="connsiteX3" fmla="*/ 0 w 19050"/>
                <a:gd name="connsiteY3" fmla="*/ 732568 h 732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050" h="732567">
                  <a:moveTo>
                    <a:pt x="0" y="0"/>
                  </a:moveTo>
                  <a:lnTo>
                    <a:pt x="19050" y="0"/>
                  </a:lnTo>
                  <a:lnTo>
                    <a:pt x="19050" y="732568"/>
                  </a:lnTo>
                  <a:lnTo>
                    <a:pt x="0" y="73256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1" name="Freeform: Shape 50">
              <a:extLst>
                <a:ext uri="{FF2B5EF4-FFF2-40B4-BE49-F238E27FC236}">
                  <a16:creationId xmlns:a16="http://schemas.microsoft.com/office/drawing/2014/main" id="{132EA109-B6D2-47CB-9BC9-D55B0F9A6750}"/>
                </a:ext>
              </a:extLst>
            </p:cNvPr>
            <p:cNvSpPr/>
            <p:nvPr userDrawn="1"/>
          </p:nvSpPr>
          <p:spPr>
            <a:xfrm rot="16200000" flipH="1">
              <a:off x="82144" y="3339115"/>
              <a:ext cx="182880" cy="4755"/>
            </a:xfrm>
            <a:custGeom>
              <a:avLst/>
              <a:gdLst>
                <a:gd name="connsiteX0" fmla="*/ 0 w 734853"/>
                <a:gd name="connsiteY0" fmla="*/ 0 h 19049"/>
                <a:gd name="connsiteX1" fmla="*/ 734854 w 734853"/>
                <a:gd name="connsiteY1" fmla="*/ 0 h 19049"/>
                <a:gd name="connsiteX2" fmla="*/ 734854 w 734853"/>
                <a:gd name="connsiteY2" fmla="*/ 19050 h 19049"/>
                <a:gd name="connsiteX3" fmla="*/ 0 w 734853"/>
                <a:gd name="connsiteY3" fmla="*/ 19050 h 190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34853" h="19049">
                  <a:moveTo>
                    <a:pt x="0" y="0"/>
                  </a:moveTo>
                  <a:lnTo>
                    <a:pt x="734854" y="0"/>
                  </a:lnTo>
                  <a:lnTo>
                    <a:pt x="734854" y="19050"/>
                  </a:lnTo>
                  <a:lnTo>
                    <a:pt x="0" y="19050"/>
                  </a:ln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pic>
          <p:nvPicPr>
            <p:cNvPr id="24" name="Picture 23">
              <a:extLst>
                <a:ext uri="{FF2B5EF4-FFF2-40B4-BE49-F238E27FC236}">
                  <a16:creationId xmlns:a16="http://schemas.microsoft.com/office/drawing/2014/main" id="{6D0CF51F-F4CE-426F-AB3D-EFB191BB1445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screen">
              <a:alphaModFix amt="5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47779" r="6346"/>
            <a:stretch/>
          </p:blipFill>
          <p:spPr>
            <a:xfrm>
              <a:off x="1722355" y="3238216"/>
              <a:ext cx="647967" cy="373101"/>
            </a:xfrm>
            <a:prstGeom prst="rect">
              <a:avLst/>
            </a:prstGeom>
          </p:spPr>
        </p:pic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B8A23F11-3EF7-4BB7-9396-70D452EECC1B}"/>
                </a:ext>
              </a:extLst>
            </p:cNvPr>
            <p:cNvCxnSpPr/>
            <p:nvPr userDrawn="1"/>
          </p:nvCxnSpPr>
          <p:spPr>
            <a:xfrm>
              <a:off x="176782" y="3325341"/>
              <a:ext cx="0" cy="365760"/>
            </a:xfrm>
            <a:prstGeom prst="line">
              <a:avLst/>
            </a:prstGeom>
            <a:ln w="3175">
              <a:solidFill>
                <a:schemeClr val="bg1">
                  <a:alpha val="49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8861043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 No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90760" y="1713755"/>
            <a:ext cx="10789920" cy="4482201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dirty="0" smtClean="0"/>
            </a:lvl1pPr>
            <a:lvl2pPr>
              <a:defRPr lang="en-US" noProof="0" dirty="0" smtClean="0"/>
            </a:lvl2pPr>
            <a:lvl3pPr>
              <a:defRPr lang="en-US" noProof="0" dirty="0" smtClean="0"/>
            </a:lvl3pPr>
            <a:lvl4pPr>
              <a:defRPr lang="en-US" noProof="0" dirty="0" smtClean="0"/>
            </a:lvl4pPr>
            <a:lvl5pPr>
              <a:defRPr lang="en-US" noProof="0" dirty="0"/>
            </a:lvl5pPr>
          </a:lstStyle>
          <a:p>
            <a:pPr lvl="0"/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Add text</a:t>
            </a:r>
          </a:p>
          <a:p>
            <a:pPr lvl="1"/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Second level</a:t>
            </a:r>
          </a:p>
          <a:p>
            <a:pPr lvl="2"/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Third level</a:t>
            </a:r>
          </a:p>
          <a:p>
            <a:pPr lvl="3"/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Fourth level</a:t>
            </a:r>
          </a:p>
          <a:p>
            <a:pPr lvl="4"/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Fifth level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14A7928-2068-42B4-AB1B-DA77806D13C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0760" y="678174"/>
            <a:ext cx="10789920" cy="369332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  <p:sp>
        <p:nvSpPr>
          <p:cNvPr id="5" name="Freeform: Shape 4">
            <a:extLst>
              <a:ext uri="{FF2B5EF4-FFF2-40B4-BE49-F238E27FC236}">
                <a16:creationId xmlns:a16="http://schemas.microsoft.com/office/drawing/2014/main" id="{5DD20BEA-D0C6-499E-90FB-BB7F1A830939}"/>
              </a:ext>
            </a:extLst>
          </p:cNvPr>
          <p:cNvSpPr/>
          <p:nvPr userDrawn="1"/>
        </p:nvSpPr>
        <p:spPr>
          <a:xfrm>
            <a:off x="3048" y="6624536"/>
            <a:ext cx="12188952" cy="233465"/>
          </a:xfrm>
          <a:custGeom>
            <a:avLst/>
            <a:gdLst>
              <a:gd name="connsiteX0" fmla="*/ 8949770 w 12188952"/>
              <a:gd name="connsiteY0" fmla="*/ 0 h 233465"/>
              <a:gd name="connsiteX1" fmla="*/ 12188952 w 12188952"/>
              <a:gd name="connsiteY1" fmla="*/ 0 h 233465"/>
              <a:gd name="connsiteX2" fmla="*/ 12188952 w 12188952"/>
              <a:gd name="connsiteY2" fmla="*/ 114871 h 233465"/>
              <a:gd name="connsiteX3" fmla="*/ 12188952 w 12188952"/>
              <a:gd name="connsiteY3" fmla="*/ 169441 h 233465"/>
              <a:gd name="connsiteX4" fmla="*/ 12188952 w 12188952"/>
              <a:gd name="connsiteY4" fmla="*/ 233465 h 233465"/>
              <a:gd name="connsiteX5" fmla="*/ 9027859 w 12188952"/>
              <a:gd name="connsiteY5" fmla="*/ 233465 h 233465"/>
              <a:gd name="connsiteX6" fmla="*/ 1048596 w 12188952"/>
              <a:gd name="connsiteY6" fmla="*/ 233465 h 233465"/>
              <a:gd name="connsiteX7" fmla="*/ 33436 w 12188952"/>
              <a:gd name="connsiteY7" fmla="*/ 233465 h 233465"/>
              <a:gd name="connsiteX8" fmla="*/ 0 w 12188952"/>
              <a:gd name="connsiteY8" fmla="*/ 233465 h 233465"/>
              <a:gd name="connsiteX9" fmla="*/ 0 w 12188952"/>
              <a:gd name="connsiteY9" fmla="*/ 169375 h 233465"/>
              <a:gd name="connsiteX10" fmla="*/ 0 w 12188952"/>
              <a:gd name="connsiteY10" fmla="*/ 126232 h 233465"/>
              <a:gd name="connsiteX11" fmla="*/ 0 w 12188952"/>
              <a:gd name="connsiteY11" fmla="*/ 109891 h 233465"/>
              <a:gd name="connsiteX12" fmla="*/ 8695556 w 12188952"/>
              <a:gd name="connsiteY12" fmla="*/ 109891 h 233465"/>
              <a:gd name="connsiteX13" fmla="*/ 8949770 w 12188952"/>
              <a:gd name="connsiteY13" fmla="*/ 0 h 2334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2188952" h="233465">
                <a:moveTo>
                  <a:pt x="8949770" y="0"/>
                </a:moveTo>
                <a:lnTo>
                  <a:pt x="12188952" y="0"/>
                </a:lnTo>
                <a:lnTo>
                  <a:pt x="12188952" y="114871"/>
                </a:lnTo>
                <a:lnTo>
                  <a:pt x="12188952" y="169441"/>
                </a:lnTo>
                <a:lnTo>
                  <a:pt x="12188952" y="233465"/>
                </a:lnTo>
                <a:lnTo>
                  <a:pt x="9027859" y="233465"/>
                </a:lnTo>
                <a:lnTo>
                  <a:pt x="1048596" y="233465"/>
                </a:lnTo>
                <a:lnTo>
                  <a:pt x="33436" y="233465"/>
                </a:lnTo>
                <a:lnTo>
                  <a:pt x="0" y="233465"/>
                </a:lnTo>
                <a:lnTo>
                  <a:pt x="0" y="169375"/>
                </a:lnTo>
                <a:lnTo>
                  <a:pt x="0" y="126232"/>
                </a:lnTo>
                <a:lnTo>
                  <a:pt x="0" y="109891"/>
                </a:lnTo>
                <a:lnTo>
                  <a:pt x="8695556" y="109891"/>
                </a:lnTo>
                <a:lnTo>
                  <a:pt x="894977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086775" rtl="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TCRaleway" panose="020B0503030101060003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283748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No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7A4D7EE-4EB9-47BD-B3ED-30248208721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  <p:sp>
        <p:nvSpPr>
          <p:cNvPr id="4" name="Freeform: Shape 3">
            <a:extLst>
              <a:ext uri="{FF2B5EF4-FFF2-40B4-BE49-F238E27FC236}">
                <a16:creationId xmlns:a16="http://schemas.microsoft.com/office/drawing/2014/main" id="{E3BA5223-32A3-4F4D-A64E-5A3DC4846203}"/>
              </a:ext>
            </a:extLst>
          </p:cNvPr>
          <p:cNvSpPr/>
          <p:nvPr userDrawn="1"/>
        </p:nvSpPr>
        <p:spPr>
          <a:xfrm>
            <a:off x="3048" y="6601968"/>
            <a:ext cx="12188952" cy="256032"/>
          </a:xfrm>
          <a:custGeom>
            <a:avLst/>
            <a:gdLst>
              <a:gd name="connsiteX0" fmla="*/ 8949770 w 12188952"/>
              <a:gd name="connsiteY0" fmla="*/ 0 h 233465"/>
              <a:gd name="connsiteX1" fmla="*/ 12188952 w 12188952"/>
              <a:gd name="connsiteY1" fmla="*/ 0 h 233465"/>
              <a:gd name="connsiteX2" fmla="*/ 12188952 w 12188952"/>
              <a:gd name="connsiteY2" fmla="*/ 114871 h 233465"/>
              <a:gd name="connsiteX3" fmla="*/ 12188952 w 12188952"/>
              <a:gd name="connsiteY3" fmla="*/ 169441 h 233465"/>
              <a:gd name="connsiteX4" fmla="*/ 12188952 w 12188952"/>
              <a:gd name="connsiteY4" fmla="*/ 233465 h 233465"/>
              <a:gd name="connsiteX5" fmla="*/ 9027859 w 12188952"/>
              <a:gd name="connsiteY5" fmla="*/ 233465 h 233465"/>
              <a:gd name="connsiteX6" fmla="*/ 1048596 w 12188952"/>
              <a:gd name="connsiteY6" fmla="*/ 233465 h 233465"/>
              <a:gd name="connsiteX7" fmla="*/ 33436 w 12188952"/>
              <a:gd name="connsiteY7" fmla="*/ 233465 h 233465"/>
              <a:gd name="connsiteX8" fmla="*/ 0 w 12188952"/>
              <a:gd name="connsiteY8" fmla="*/ 233465 h 233465"/>
              <a:gd name="connsiteX9" fmla="*/ 0 w 12188952"/>
              <a:gd name="connsiteY9" fmla="*/ 169375 h 233465"/>
              <a:gd name="connsiteX10" fmla="*/ 0 w 12188952"/>
              <a:gd name="connsiteY10" fmla="*/ 126232 h 233465"/>
              <a:gd name="connsiteX11" fmla="*/ 0 w 12188952"/>
              <a:gd name="connsiteY11" fmla="*/ 109891 h 233465"/>
              <a:gd name="connsiteX12" fmla="*/ 8695556 w 12188952"/>
              <a:gd name="connsiteY12" fmla="*/ 109891 h 233465"/>
              <a:gd name="connsiteX13" fmla="*/ 8949770 w 12188952"/>
              <a:gd name="connsiteY13" fmla="*/ 0 h 2334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2188952" h="233465">
                <a:moveTo>
                  <a:pt x="8949770" y="0"/>
                </a:moveTo>
                <a:lnTo>
                  <a:pt x="12188952" y="0"/>
                </a:lnTo>
                <a:lnTo>
                  <a:pt x="12188952" y="114871"/>
                </a:lnTo>
                <a:lnTo>
                  <a:pt x="12188952" y="169441"/>
                </a:lnTo>
                <a:lnTo>
                  <a:pt x="12188952" y="233465"/>
                </a:lnTo>
                <a:lnTo>
                  <a:pt x="9027859" y="233465"/>
                </a:lnTo>
                <a:lnTo>
                  <a:pt x="1048596" y="233465"/>
                </a:lnTo>
                <a:lnTo>
                  <a:pt x="33436" y="233465"/>
                </a:lnTo>
                <a:lnTo>
                  <a:pt x="0" y="233465"/>
                </a:lnTo>
                <a:lnTo>
                  <a:pt x="0" y="169375"/>
                </a:lnTo>
                <a:lnTo>
                  <a:pt x="0" y="126232"/>
                </a:lnTo>
                <a:lnTo>
                  <a:pt x="0" y="109891"/>
                </a:lnTo>
                <a:lnTo>
                  <a:pt x="8695556" y="109891"/>
                </a:lnTo>
                <a:lnTo>
                  <a:pt x="894977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086775" rtl="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rPr>
              <a:t>\</a:t>
            </a:r>
          </a:p>
        </p:txBody>
      </p:sp>
    </p:spTree>
    <p:extLst>
      <p:ext uri="{BB962C8B-B14F-4D97-AF65-F5344CB8AC3E}">
        <p14:creationId xmlns:p14="http://schemas.microsoft.com/office/powerpoint/2010/main" val="26922129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">
    <p:bg>
      <p:bgPr>
        <a:solidFill>
          <a:srgbClr val="3C464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ject 20">
            <a:hlinkClick r:id="rId2"/>
            <a:extLst>
              <a:ext uri="{FF2B5EF4-FFF2-40B4-BE49-F238E27FC236}">
                <a16:creationId xmlns:a16="http://schemas.microsoft.com/office/drawing/2014/main" id="{7ED43A46-AFFE-4105-A07A-4D800F0FD780}"/>
              </a:ext>
            </a:extLst>
          </p:cNvPr>
          <p:cNvSpPr txBox="1"/>
          <p:nvPr userDrawn="1"/>
        </p:nvSpPr>
        <p:spPr>
          <a:xfrm>
            <a:off x="369696" y="5208601"/>
            <a:ext cx="2459879" cy="322523"/>
          </a:xfrm>
          <a:prstGeom prst="rect">
            <a:avLst/>
          </a:prstGeom>
        </p:spPr>
        <p:txBody>
          <a:bodyPr vert="horz" wrap="square" lIns="0" tIns="14604" rIns="0" bIns="0" rtlCol="0">
            <a:spAutoFit/>
          </a:bodyPr>
          <a:lstStyle/>
          <a:p>
            <a:pPr marL="12700" marR="0" lvl="0" indent="0" algn="ctr" defTabSz="1086775" rtl="0" eaLnBrk="1" fontAlgn="auto" latinLnBrk="0" hangingPunct="1">
              <a:lnSpc>
                <a:spcPct val="100000"/>
              </a:lnSpc>
              <a:spcBef>
                <a:spcPts val="114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2000" b="1" i="0" u="none" strike="noStrike" kern="1200" cap="none" spc="200" normalizeH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PTCRaleway"/>
                <a:ea typeface="+mn-ea"/>
                <a:cs typeface="PTCRaleway"/>
              </a:rPr>
              <a:t>ptc.com</a:t>
            </a:r>
            <a:endParaRPr kumimoji="0" sz="2000" b="0" i="0" u="none" strike="noStrike" kern="1200" cap="none" spc="200" normalizeH="0" noProof="0" dirty="0">
              <a:ln>
                <a:noFill/>
              </a:ln>
              <a:solidFill>
                <a:schemeClr val="bg2"/>
              </a:solidFill>
              <a:effectLst/>
              <a:uLnTx/>
              <a:uFillTx/>
              <a:latin typeface="PTCRaleway"/>
              <a:ea typeface="+mn-ea"/>
              <a:cs typeface="PTCRaleway"/>
            </a:endParaRP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969ABB46-9366-47EC-8281-970F2B4A701E}"/>
              </a:ext>
            </a:extLst>
          </p:cNvPr>
          <p:cNvGrpSpPr/>
          <p:nvPr userDrawn="1"/>
        </p:nvGrpSpPr>
        <p:grpSpPr>
          <a:xfrm>
            <a:off x="4220144" y="3133535"/>
            <a:ext cx="3751712" cy="590931"/>
            <a:chOff x="4538660" y="3133535"/>
            <a:chExt cx="3751712" cy="590931"/>
          </a:xfrm>
        </p:grpSpPr>
        <p:sp>
          <p:nvSpPr>
            <p:cNvPr id="30" name="Title 5">
              <a:extLst>
                <a:ext uri="{FF2B5EF4-FFF2-40B4-BE49-F238E27FC236}">
                  <a16:creationId xmlns:a16="http://schemas.microsoft.com/office/drawing/2014/main" id="{61A34D6B-75F2-4EF8-8F57-128F503089FE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784848" y="3133535"/>
              <a:ext cx="1505524" cy="590931"/>
            </a:xfrm>
            <a:prstGeom prst="rect">
              <a:avLst/>
            </a:prstGeom>
          </p:spPr>
          <p:txBody>
            <a:bodyPr vert="horz" wrap="square" lIns="0" tIns="0" rIns="0" bIns="0" rtlCol="0" anchor="ctr" anchorCtr="0">
              <a:spAutoFit/>
            </a:bodyPr>
            <a:lstStyle>
              <a:lvl1pPr algn="ctr" defTabSz="1086775" rtl="0" eaLnBrk="1" latinLnBrk="0" hangingPunct="1">
                <a:lnSpc>
                  <a:spcPct val="80000"/>
                </a:lnSpc>
                <a:spcBef>
                  <a:spcPct val="0"/>
                </a:spcBef>
                <a:buNone/>
                <a:defRPr sz="4800" b="0" kern="1200" cap="all" baseline="0">
                  <a:solidFill>
                    <a:schemeClr val="bg1"/>
                  </a:solidFill>
                  <a:latin typeface="PTCRaleway Black" panose="020B0A03030101060003" pitchFamily="34" charset="0"/>
                  <a:ea typeface="+mj-ea"/>
                  <a:cs typeface="+mj-cs"/>
                </a:defRPr>
              </a:lvl1pPr>
            </a:lstStyle>
            <a:p>
              <a:r>
                <a:rPr lang="en-US" dirty="0">
                  <a:latin typeface="+mn-lt"/>
                </a:rPr>
                <a:t>you</a:t>
              </a:r>
            </a:p>
          </p:txBody>
        </p:sp>
        <p:sp>
          <p:nvSpPr>
            <p:cNvPr id="31" name="Title 5">
              <a:extLst>
                <a:ext uri="{FF2B5EF4-FFF2-40B4-BE49-F238E27FC236}">
                  <a16:creationId xmlns:a16="http://schemas.microsoft.com/office/drawing/2014/main" id="{21ED058C-9AE3-4F6F-8EC1-CF71ABA78546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4538660" y="3133535"/>
              <a:ext cx="2325436" cy="590931"/>
            </a:xfrm>
            <a:prstGeom prst="rect">
              <a:avLst/>
            </a:prstGeom>
          </p:spPr>
          <p:txBody>
            <a:bodyPr vert="horz" lIns="0" tIns="0" rIns="0" bIns="0" rtlCol="0" anchor="ctr" anchorCtr="0">
              <a:spAutoFit/>
            </a:bodyPr>
            <a:lstStyle>
              <a:lvl1pPr algn="ctr" defTabSz="1086775" rtl="0" eaLnBrk="1" latinLnBrk="0" hangingPunct="1">
                <a:lnSpc>
                  <a:spcPct val="80000"/>
                </a:lnSpc>
                <a:spcBef>
                  <a:spcPct val="0"/>
                </a:spcBef>
                <a:buNone/>
                <a:defRPr sz="4800" b="0" kern="1200" cap="all" baseline="0">
                  <a:solidFill>
                    <a:schemeClr val="bg1"/>
                  </a:solidFill>
                  <a:latin typeface="PTCRaleway Black" panose="020B0A03030101060003" pitchFamily="34" charset="0"/>
                  <a:ea typeface="+mj-ea"/>
                  <a:cs typeface="+mj-cs"/>
                </a:defRPr>
              </a:lvl1pPr>
            </a:lstStyle>
            <a:p>
              <a:r>
                <a:rPr lang="en-US" dirty="0"/>
                <a:t>thank</a:t>
              </a:r>
            </a:p>
          </p:txBody>
        </p:sp>
      </p:grpSp>
      <p:pic>
        <p:nvPicPr>
          <p:cNvPr id="32" name="Graphic 31">
            <a:extLst>
              <a:ext uri="{FF2B5EF4-FFF2-40B4-BE49-F238E27FC236}">
                <a16:creationId xmlns:a16="http://schemas.microsoft.com/office/drawing/2014/main" id="{81ECAEC0-2EBD-4547-B5C3-C7AB667EDA2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8943975" y="6619875"/>
            <a:ext cx="3248025" cy="238125"/>
          </a:xfrm>
          <a:prstGeom prst="rect">
            <a:avLst/>
          </a:prstGeom>
        </p:spPr>
      </p:pic>
      <p:pic>
        <p:nvPicPr>
          <p:cNvPr id="36" name="Picture 35">
            <a:extLst>
              <a:ext uri="{FF2B5EF4-FFF2-40B4-BE49-F238E27FC236}">
                <a16:creationId xmlns:a16="http://schemas.microsoft.com/office/drawing/2014/main" id="{481DBBEF-9B0D-41D0-BCD3-495FFBD788E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alphaModFix amt="27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751624" y="4679403"/>
            <a:ext cx="8440376" cy="1310754"/>
          </a:xfrm>
          <a:prstGeom prst="rect">
            <a:avLst/>
          </a:prstGeom>
        </p:spPr>
      </p:pic>
      <p:pic>
        <p:nvPicPr>
          <p:cNvPr id="87" name="Picture 86">
            <a:extLst>
              <a:ext uri="{FF2B5EF4-FFF2-40B4-BE49-F238E27FC236}">
                <a16:creationId xmlns:a16="http://schemas.microsoft.com/office/drawing/2014/main" id="{23ED609D-3632-4814-BF11-8AD74BEBBF3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545" t="10322"/>
          <a:stretch/>
        </p:blipFill>
        <p:spPr>
          <a:xfrm rot="5400000">
            <a:off x="9251715" y="-837151"/>
            <a:ext cx="2103136" cy="3777438"/>
          </a:xfrm>
          <a:prstGeom prst="rect">
            <a:avLst/>
          </a:prstGeom>
        </p:spPr>
      </p:pic>
      <p:pic>
        <p:nvPicPr>
          <p:cNvPr id="91" name="Picture 90">
            <a:extLst>
              <a:ext uri="{FF2B5EF4-FFF2-40B4-BE49-F238E27FC236}">
                <a16:creationId xmlns:a16="http://schemas.microsoft.com/office/drawing/2014/main" id="{D5BD01E7-6916-47E5-B90B-2D3750E7BE8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email">
            <a:alphaModFix amt="9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1550" t="13430"/>
          <a:stretch/>
        </p:blipFill>
        <p:spPr>
          <a:xfrm rot="5400000" flipV="1">
            <a:off x="876945" y="-876943"/>
            <a:ext cx="1273792" cy="3027682"/>
          </a:xfrm>
          <a:prstGeom prst="rect">
            <a:avLst/>
          </a:prstGeom>
        </p:spPr>
      </p:pic>
      <p:pic>
        <p:nvPicPr>
          <p:cNvPr id="38" name="Picture 37">
            <a:hlinkClick r:id="rId8"/>
            <a:extLst>
              <a:ext uri="{FF2B5EF4-FFF2-40B4-BE49-F238E27FC236}">
                <a16:creationId xmlns:a16="http://schemas.microsoft.com/office/drawing/2014/main" id="{6C96BA37-A42C-42D5-9D7A-F22A1448F7E2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748938" y="5879317"/>
            <a:ext cx="329213" cy="396274"/>
          </a:xfrm>
          <a:prstGeom prst="rect">
            <a:avLst/>
          </a:prstGeom>
        </p:spPr>
      </p:pic>
      <p:pic>
        <p:nvPicPr>
          <p:cNvPr id="52" name="Picture 51">
            <a:hlinkClick r:id="rId10"/>
            <a:extLst>
              <a:ext uri="{FF2B5EF4-FFF2-40B4-BE49-F238E27FC236}">
                <a16:creationId xmlns:a16="http://schemas.microsoft.com/office/drawing/2014/main" id="{7B0A66D6-16A5-4237-A88D-05AB2F1BE138}"/>
              </a:ext>
            </a:extLst>
          </p:cNvPr>
          <p:cNvPicPr>
            <a:picLocks noChangeAspect="1"/>
          </p:cNvPicPr>
          <p:nvPr userDrawn="1"/>
        </p:nvPicPr>
        <p:blipFill>
          <a:blip r:embed="rId11"/>
          <a:stretch>
            <a:fillRect/>
          </a:stretch>
        </p:blipFill>
        <p:spPr>
          <a:xfrm>
            <a:off x="1203673" y="5871207"/>
            <a:ext cx="335309" cy="396274"/>
          </a:xfrm>
          <a:prstGeom prst="rect">
            <a:avLst/>
          </a:prstGeom>
        </p:spPr>
      </p:pic>
      <p:pic>
        <p:nvPicPr>
          <p:cNvPr id="53" name="Picture 52">
            <a:hlinkClick r:id="rId12"/>
            <a:extLst>
              <a:ext uri="{FF2B5EF4-FFF2-40B4-BE49-F238E27FC236}">
                <a16:creationId xmlns:a16="http://schemas.microsoft.com/office/drawing/2014/main" id="{4CD33D67-5AAB-49B0-981E-C7AA8350A7CA}"/>
              </a:ext>
            </a:extLst>
          </p:cNvPr>
          <p:cNvPicPr>
            <a:picLocks noChangeAspect="1"/>
          </p:cNvPicPr>
          <p:nvPr userDrawn="1"/>
        </p:nvPicPr>
        <p:blipFill>
          <a:blip r:embed="rId13"/>
          <a:stretch>
            <a:fillRect/>
          </a:stretch>
        </p:blipFill>
        <p:spPr>
          <a:xfrm>
            <a:off x="1664504" y="5871207"/>
            <a:ext cx="329213" cy="396274"/>
          </a:xfrm>
          <a:prstGeom prst="rect">
            <a:avLst/>
          </a:prstGeom>
        </p:spPr>
      </p:pic>
      <p:pic>
        <p:nvPicPr>
          <p:cNvPr id="54" name="Picture 53">
            <a:hlinkClick r:id="rId14"/>
            <a:extLst>
              <a:ext uri="{FF2B5EF4-FFF2-40B4-BE49-F238E27FC236}">
                <a16:creationId xmlns:a16="http://schemas.microsoft.com/office/drawing/2014/main" id="{68B666AB-3239-41A1-A705-1F00F02B3410}"/>
              </a:ext>
            </a:extLst>
          </p:cNvPr>
          <p:cNvPicPr>
            <a:picLocks noChangeAspect="1"/>
          </p:cNvPicPr>
          <p:nvPr userDrawn="1"/>
        </p:nvPicPr>
        <p:blipFill>
          <a:blip r:embed="rId15"/>
          <a:stretch>
            <a:fillRect/>
          </a:stretch>
        </p:blipFill>
        <p:spPr>
          <a:xfrm>
            <a:off x="2119238" y="5871207"/>
            <a:ext cx="329213" cy="396274"/>
          </a:xfrm>
          <a:prstGeom prst="rect">
            <a:avLst/>
          </a:prstGeom>
        </p:spPr>
      </p:pic>
      <p:pic>
        <p:nvPicPr>
          <p:cNvPr id="3" name="Graphic 2">
            <a:extLst>
              <a:ext uri="{FF2B5EF4-FFF2-40B4-BE49-F238E27FC236}">
                <a16:creationId xmlns:a16="http://schemas.microsoft.com/office/drawing/2014/main" id="{91A04CD8-5708-409A-BF83-42BA422C7DE0}"/>
              </a:ext>
            </a:extLst>
          </p:cNvPr>
          <p:cNvPicPr>
            <a:picLocks noChangeAspect="1"/>
          </p:cNvPicPr>
          <p:nvPr userDrawn="1"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288658" y="461079"/>
            <a:ext cx="3066773" cy="12435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4725530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5CB7DCEC-F3DB-44D5-AF50-7F0026FE46C2}"/>
              </a:ext>
            </a:extLst>
          </p:cNvPr>
          <p:cNvSpPr/>
          <p:nvPr userDrawn="1"/>
        </p:nvSpPr>
        <p:spPr>
          <a:xfrm>
            <a:off x="0" y="0"/>
            <a:ext cx="8385464" cy="6867144"/>
          </a:xfrm>
          <a:custGeom>
            <a:avLst/>
            <a:gdLst>
              <a:gd name="connsiteX0" fmla="*/ 0 w 8385464"/>
              <a:gd name="connsiteY0" fmla="*/ 0 h 6858000"/>
              <a:gd name="connsiteX1" fmla="*/ 8385464 w 8385464"/>
              <a:gd name="connsiteY1" fmla="*/ 0 h 6858000"/>
              <a:gd name="connsiteX2" fmla="*/ 8385464 w 8385464"/>
              <a:gd name="connsiteY2" fmla="*/ 6858000 h 6858000"/>
              <a:gd name="connsiteX3" fmla="*/ 0 w 8385464"/>
              <a:gd name="connsiteY3" fmla="*/ 6858000 h 6858000"/>
              <a:gd name="connsiteX4" fmla="*/ 0 w 8385464"/>
              <a:gd name="connsiteY4" fmla="*/ 0 h 6858000"/>
              <a:gd name="connsiteX0" fmla="*/ 0 w 8395855"/>
              <a:gd name="connsiteY0" fmla="*/ 0 h 6858000"/>
              <a:gd name="connsiteX1" fmla="*/ 8385464 w 8395855"/>
              <a:gd name="connsiteY1" fmla="*/ 0 h 6858000"/>
              <a:gd name="connsiteX2" fmla="*/ 8395855 w 8395855"/>
              <a:gd name="connsiteY2" fmla="*/ 3408218 h 6858000"/>
              <a:gd name="connsiteX3" fmla="*/ 8385464 w 8395855"/>
              <a:gd name="connsiteY3" fmla="*/ 6858000 h 6858000"/>
              <a:gd name="connsiteX4" fmla="*/ 0 w 8395855"/>
              <a:gd name="connsiteY4" fmla="*/ 6858000 h 6858000"/>
              <a:gd name="connsiteX5" fmla="*/ 0 w 8395855"/>
              <a:gd name="connsiteY5" fmla="*/ 0 h 6858000"/>
              <a:gd name="connsiteX0" fmla="*/ 0 w 8385468"/>
              <a:gd name="connsiteY0" fmla="*/ 0 h 6858000"/>
              <a:gd name="connsiteX1" fmla="*/ 8385464 w 8385468"/>
              <a:gd name="connsiteY1" fmla="*/ 0 h 6858000"/>
              <a:gd name="connsiteX2" fmla="*/ 6286501 w 8385468"/>
              <a:gd name="connsiteY2" fmla="*/ 3512127 h 6858000"/>
              <a:gd name="connsiteX3" fmla="*/ 8385464 w 8385468"/>
              <a:gd name="connsiteY3" fmla="*/ 6858000 h 6858000"/>
              <a:gd name="connsiteX4" fmla="*/ 0 w 8385468"/>
              <a:gd name="connsiteY4" fmla="*/ 6858000 h 6858000"/>
              <a:gd name="connsiteX5" fmla="*/ 0 w 8385468"/>
              <a:gd name="connsiteY5" fmla="*/ 0 h 6858000"/>
              <a:gd name="connsiteX0" fmla="*/ 0 w 8385470"/>
              <a:gd name="connsiteY0" fmla="*/ 0 h 6858000"/>
              <a:gd name="connsiteX1" fmla="*/ 8385464 w 8385470"/>
              <a:gd name="connsiteY1" fmla="*/ 0 h 6858000"/>
              <a:gd name="connsiteX2" fmla="*/ 6993083 w 8385470"/>
              <a:gd name="connsiteY2" fmla="*/ 3740727 h 6858000"/>
              <a:gd name="connsiteX3" fmla="*/ 8385464 w 8385470"/>
              <a:gd name="connsiteY3" fmla="*/ 6858000 h 6858000"/>
              <a:gd name="connsiteX4" fmla="*/ 0 w 8385470"/>
              <a:gd name="connsiteY4" fmla="*/ 6858000 h 6858000"/>
              <a:gd name="connsiteX5" fmla="*/ 0 w 8385470"/>
              <a:gd name="connsiteY5" fmla="*/ 0 h 6858000"/>
              <a:gd name="connsiteX0" fmla="*/ 0 w 8385474"/>
              <a:gd name="connsiteY0" fmla="*/ 0 h 6858000"/>
              <a:gd name="connsiteX1" fmla="*/ 8385464 w 8385474"/>
              <a:gd name="connsiteY1" fmla="*/ 0 h 6858000"/>
              <a:gd name="connsiteX2" fmla="*/ 6993083 w 8385474"/>
              <a:gd name="connsiteY2" fmla="*/ 3740727 h 6858000"/>
              <a:gd name="connsiteX3" fmla="*/ 8385464 w 8385474"/>
              <a:gd name="connsiteY3" fmla="*/ 6858000 h 6858000"/>
              <a:gd name="connsiteX4" fmla="*/ 0 w 8385474"/>
              <a:gd name="connsiteY4" fmla="*/ 6858000 h 6858000"/>
              <a:gd name="connsiteX5" fmla="*/ 0 w 8385474"/>
              <a:gd name="connsiteY5" fmla="*/ 0 h 6858000"/>
              <a:gd name="connsiteX0" fmla="*/ 0 w 8385470"/>
              <a:gd name="connsiteY0" fmla="*/ 0 h 6858000"/>
              <a:gd name="connsiteX1" fmla="*/ 8385464 w 8385470"/>
              <a:gd name="connsiteY1" fmla="*/ 0 h 6858000"/>
              <a:gd name="connsiteX2" fmla="*/ 6993083 w 8385470"/>
              <a:gd name="connsiteY2" fmla="*/ 3740727 h 6858000"/>
              <a:gd name="connsiteX3" fmla="*/ 8385464 w 8385470"/>
              <a:gd name="connsiteY3" fmla="*/ 6858000 h 6858000"/>
              <a:gd name="connsiteX4" fmla="*/ 0 w 8385470"/>
              <a:gd name="connsiteY4" fmla="*/ 6858000 h 6858000"/>
              <a:gd name="connsiteX5" fmla="*/ 0 w 8385470"/>
              <a:gd name="connsiteY5" fmla="*/ 0 h 6858000"/>
              <a:gd name="connsiteX0" fmla="*/ 0 w 8385464"/>
              <a:gd name="connsiteY0" fmla="*/ 0 h 6858000"/>
              <a:gd name="connsiteX1" fmla="*/ 8385464 w 8385464"/>
              <a:gd name="connsiteY1" fmla="*/ 0 h 6858000"/>
              <a:gd name="connsiteX2" fmla="*/ 6993083 w 8385464"/>
              <a:gd name="connsiteY2" fmla="*/ 3740727 h 6858000"/>
              <a:gd name="connsiteX3" fmla="*/ 8385464 w 8385464"/>
              <a:gd name="connsiteY3" fmla="*/ 6858000 h 6858000"/>
              <a:gd name="connsiteX4" fmla="*/ 0 w 8385464"/>
              <a:gd name="connsiteY4" fmla="*/ 6858000 h 6858000"/>
              <a:gd name="connsiteX5" fmla="*/ 0 w 8385464"/>
              <a:gd name="connsiteY5" fmla="*/ 0 h 6858000"/>
              <a:gd name="connsiteX0" fmla="*/ 0 w 8385464"/>
              <a:gd name="connsiteY0" fmla="*/ 0 h 6858000"/>
              <a:gd name="connsiteX1" fmla="*/ 8385464 w 8385464"/>
              <a:gd name="connsiteY1" fmla="*/ 0 h 6858000"/>
              <a:gd name="connsiteX2" fmla="*/ 6993083 w 8385464"/>
              <a:gd name="connsiteY2" fmla="*/ 3740727 h 6858000"/>
              <a:gd name="connsiteX3" fmla="*/ 8385464 w 8385464"/>
              <a:gd name="connsiteY3" fmla="*/ 6858000 h 6858000"/>
              <a:gd name="connsiteX4" fmla="*/ 0 w 8385464"/>
              <a:gd name="connsiteY4" fmla="*/ 6858000 h 6858000"/>
              <a:gd name="connsiteX5" fmla="*/ 0 w 8385464"/>
              <a:gd name="connsiteY5" fmla="*/ 0 h 6858000"/>
              <a:gd name="connsiteX0" fmla="*/ 0 w 8385464"/>
              <a:gd name="connsiteY0" fmla="*/ 0 h 6858000"/>
              <a:gd name="connsiteX1" fmla="*/ 8385464 w 8385464"/>
              <a:gd name="connsiteY1" fmla="*/ 0 h 6858000"/>
              <a:gd name="connsiteX2" fmla="*/ 6993083 w 8385464"/>
              <a:gd name="connsiteY2" fmla="*/ 3740727 h 6858000"/>
              <a:gd name="connsiteX3" fmla="*/ 8385464 w 8385464"/>
              <a:gd name="connsiteY3" fmla="*/ 6858000 h 6858000"/>
              <a:gd name="connsiteX4" fmla="*/ 0 w 8385464"/>
              <a:gd name="connsiteY4" fmla="*/ 6858000 h 6858000"/>
              <a:gd name="connsiteX5" fmla="*/ 0 w 8385464"/>
              <a:gd name="connsiteY5" fmla="*/ 0 h 6858000"/>
              <a:gd name="connsiteX0" fmla="*/ 0 w 8385464"/>
              <a:gd name="connsiteY0" fmla="*/ 0 h 6858000"/>
              <a:gd name="connsiteX1" fmla="*/ 8385464 w 8385464"/>
              <a:gd name="connsiteY1" fmla="*/ 0 h 6858000"/>
              <a:gd name="connsiteX2" fmla="*/ 6286501 w 8385464"/>
              <a:gd name="connsiteY2" fmla="*/ 4634345 h 6858000"/>
              <a:gd name="connsiteX3" fmla="*/ 8385464 w 8385464"/>
              <a:gd name="connsiteY3" fmla="*/ 6858000 h 6858000"/>
              <a:gd name="connsiteX4" fmla="*/ 0 w 8385464"/>
              <a:gd name="connsiteY4" fmla="*/ 6858000 h 6858000"/>
              <a:gd name="connsiteX5" fmla="*/ 0 w 8385464"/>
              <a:gd name="connsiteY5" fmla="*/ 0 h 6858000"/>
              <a:gd name="connsiteX0" fmla="*/ 0 w 8385464"/>
              <a:gd name="connsiteY0" fmla="*/ 0 h 6889173"/>
              <a:gd name="connsiteX1" fmla="*/ 8385464 w 8385464"/>
              <a:gd name="connsiteY1" fmla="*/ 0 h 6889173"/>
              <a:gd name="connsiteX2" fmla="*/ 6286501 w 8385464"/>
              <a:gd name="connsiteY2" fmla="*/ 4634345 h 6889173"/>
              <a:gd name="connsiteX3" fmla="*/ 6878783 w 8385464"/>
              <a:gd name="connsiteY3" fmla="*/ 6889173 h 6889173"/>
              <a:gd name="connsiteX4" fmla="*/ 0 w 8385464"/>
              <a:gd name="connsiteY4" fmla="*/ 6858000 h 6889173"/>
              <a:gd name="connsiteX5" fmla="*/ 0 w 8385464"/>
              <a:gd name="connsiteY5" fmla="*/ 0 h 6889173"/>
              <a:gd name="connsiteX0" fmla="*/ 0 w 8385464"/>
              <a:gd name="connsiteY0" fmla="*/ 0 h 6889173"/>
              <a:gd name="connsiteX1" fmla="*/ 8385464 w 8385464"/>
              <a:gd name="connsiteY1" fmla="*/ 0 h 6889173"/>
              <a:gd name="connsiteX2" fmla="*/ 6255328 w 8385464"/>
              <a:gd name="connsiteY2" fmla="*/ 5029200 h 6889173"/>
              <a:gd name="connsiteX3" fmla="*/ 6878783 w 8385464"/>
              <a:gd name="connsiteY3" fmla="*/ 6889173 h 6889173"/>
              <a:gd name="connsiteX4" fmla="*/ 0 w 8385464"/>
              <a:gd name="connsiteY4" fmla="*/ 6858000 h 6889173"/>
              <a:gd name="connsiteX5" fmla="*/ 0 w 8385464"/>
              <a:gd name="connsiteY5" fmla="*/ 0 h 6889173"/>
              <a:gd name="connsiteX0" fmla="*/ 0 w 8385464"/>
              <a:gd name="connsiteY0" fmla="*/ 0 h 6889173"/>
              <a:gd name="connsiteX1" fmla="*/ 8385464 w 8385464"/>
              <a:gd name="connsiteY1" fmla="*/ 0 h 6889173"/>
              <a:gd name="connsiteX2" fmla="*/ 6255328 w 8385464"/>
              <a:gd name="connsiteY2" fmla="*/ 5029200 h 6889173"/>
              <a:gd name="connsiteX3" fmla="*/ 6878783 w 8385464"/>
              <a:gd name="connsiteY3" fmla="*/ 6889173 h 6889173"/>
              <a:gd name="connsiteX4" fmla="*/ 0 w 8385464"/>
              <a:gd name="connsiteY4" fmla="*/ 6858000 h 6889173"/>
              <a:gd name="connsiteX5" fmla="*/ 0 w 8385464"/>
              <a:gd name="connsiteY5" fmla="*/ 0 h 6889173"/>
              <a:gd name="connsiteX0" fmla="*/ 0 w 8385464"/>
              <a:gd name="connsiteY0" fmla="*/ 0 h 6889173"/>
              <a:gd name="connsiteX1" fmla="*/ 8385464 w 8385464"/>
              <a:gd name="connsiteY1" fmla="*/ 0 h 6889173"/>
              <a:gd name="connsiteX2" fmla="*/ 6255328 w 8385464"/>
              <a:gd name="connsiteY2" fmla="*/ 5029200 h 6889173"/>
              <a:gd name="connsiteX3" fmla="*/ 6878783 w 8385464"/>
              <a:gd name="connsiteY3" fmla="*/ 6889173 h 6889173"/>
              <a:gd name="connsiteX4" fmla="*/ 0 w 8385464"/>
              <a:gd name="connsiteY4" fmla="*/ 6858000 h 6889173"/>
              <a:gd name="connsiteX5" fmla="*/ 0 w 8385464"/>
              <a:gd name="connsiteY5" fmla="*/ 0 h 6889173"/>
              <a:gd name="connsiteX0" fmla="*/ 0 w 8385464"/>
              <a:gd name="connsiteY0" fmla="*/ 0 h 6889173"/>
              <a:gd name="connsiteX1" fmla="*/ 8385464 w 8385464"/>
              <a:gd name="connsiteY1" fmla="*/ 0 h 6889173"/>
              <a:gd name="connsiteX2" fmla="*/ 6255328 w 8385464"/>
              <a:gd name="connsiteY2" fmla="*/ 5029200 h 6889173"/>
              <a:gd name="connsiteX3" fmla="*/ 6878783 w 8385464"/>
              <a:gd name="connsiteY3" fmla="*/ 6889173 h 6889173"/>
              <a:gd name="connsiteX4" fmla="*/ 0 w 8385464"/>
              <a:gd name="connsiteY4" fmla="*/ 6858000 h 6889173"/>
              <a:gd name="connsiteX5" fmla="*/ 0 w 8385464"/>
              <a:gd name="connsiteY5" fmla="*/ 0 h 6889173"/>
              <a:gd name="connsiteX0" fmla="*/ 0 w 8385464"/>
              <a:gd name="connsiteY0" fmla="*/ 0 h 6882245"/>
              <a:gd name="connsiteX1" fmla="*/ 8385464 w 8385464"/>
              <a:gd name="connsiteY1" fmla="*/ 0 h 6882245"/>
              <a:gd name="connsiteX2" fmla="*/ 6255328 w 8385464"/>
              <a:gd name="connsiteY2" fmla="*/ 5029200 h 6882245"/>
              <a:gd name="connsiteX3" fmla="*/ 6871856 w 8385464"/>
              <a:gd name="connsiteY3" fmla="*/ 6882245 h 6882245"/>
              <a:gd name="connsiteX4" fmla="*/ 0 w 8385464"/>
              <a:gd name="connsiteY4" fmla="*/ 6858000 h 6882245"/>
              <a:gd name="connsiteX5" fmla="*/ 0 w 8385464"/>
              <a:gd name="connsiteY5" fmla="*/ 0 h 6882245"/>
              <a:gd name="connsiteX0" fmla="*/ 0 w 8385464"/>
              <a:gd name="connsiteY0" fmla="*/ 0 h 6882245"/>
              <a:gd name="connsiteX1" fmla="*/ 8385464 w 8385464"/>
              <a:gd name="connsiteY1" fmla="*/ 0 h 6882245"/>
              <a:gd name="connsiteX2" fmla="*/ 6255328 w 8385464"/>
              <a:gd name="connsiteY2" fmla="*/ 5029200 h 6882245"/>
              <a:gd name="connsiteX3" fmla="*/ 6843503 w 8385464"/>
              <a:gd name="connsiteY3" fmla="*/ 6882245 h 6882245"/>
              <a:gd name="connsiteX4" fmla="*/ 0 w 8385464"/>
              <a:gd name="connsiteY4" fmla="*/ 6858000 h 6882245"/>
              <a:gd name="connsiteX5" fmla="*/ 0 w 8385464"/>
              <a:gd name="connsiteY5" fmla="*/ 0 h 6882245"/>
              <a:gd name="connsiteX0" fmla="*/ 0 w 8385464"/>
              <a:gd name="connsiteY0" fmla="*/ 0 h 6858000"/>
              <a:gd name="connsiteX1" fmla="*/ 8385464 w 8385464"/>
              <a:gd name="connsiteY1" fmla="*/ 0 h 6858000"/>
              <a:gd name="connsiteX2" fmla="*/ 6255328 w 8385464"/>
              <a:gd name="connsiteY2" fmla="*/ 5029200 h 6858000"/>
              <a:gd name="connsiteX3" fmla="*/ 6843503 w 8385464"/>
              <a:gd name="connsiteY3" fmla="*/ 6853891 h 6858000"/>
              <a:gd name="connsiteX4" fmla="*/ 0 w 8385464"/>
              <a:gd name="connsiteY4" fmla="*/ 6858000 h 6858000"/>
              <a:gd name="connsiteX5" fmla="*/ 0 w 8385464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385464" h="6858000">
                <a:moveTo>
                  <a:pt x="0" y="0"/>
                </a:moveTo>
                <a:lnTo>
                  <a:pt x="8385464" y="0"/>
                </a:lnTo>
                <a:cubicBezTo>
                  <a:pt x="7879774" y="1572491"/>
                  <a:pt x="6951518" y="3158836"/>
                  <a:pt x="6255328" y="5029200"/>
                </a:cubicBezTo>
                <a:cubicBezTo>
                  <a:pt x="6698673" y="6345381"/>
                  <a:pt x="6317032" y="5402628"/>
                  <a:pt x="6843503" y="6853891"/>
                </a:cubicBez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rgbClr val="2E353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13EB79B0-1C65-4824-AE7E-4624F1BE363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39046" y="4210541"/>
            <a:ext cx="3252063" cy="1265243"/>
          </a:xfrm>
          <a:prstGeom prst="rect">
            <a:avLst/>
          </a:prstGeom>
        </p:spPr>
      </p:pic>
      <p:grpSp>
        <p:nvGrpSpPr>
          <p:cNvPr id="17" name="Group 16">
            <a:extLst>
              <a:ext uri="{FF2B5EF4-FFF2-40B4-BE49-F238E27FC236}">
                <a16:creationId xmlns:a16="http://schemas.microsoft.com/office/drawing/2014/main" id="{2D99F2D6-A8E8-48C8-81DC-1B16354D0A70}"/>
              </a:ext>
            </a:extLst>
          </p:cNvPr>
          <p:cNvGrpSpPr/>
          <p:nvPr userDrawn="1"/>
        </p:nvGrpSpPr>
        <p:grpSpPr>
          <a:xfrm>
            <a:off x="4532198" y="-1714644"/>
            <a:ext cx="3827714" cy="9445752"/>
            <a:chOff x="4094048" y="-1695594"/>
            <a:chExt cx="3827714" cy="9445752"/>
          </a:xfrm>
        </p:grpSpPr>
        <p:sp>
          <p:nvSpPr>
            <p:cNvPr id="18" name="Freeform 4">
              <a:extLst>
                <a:ext uri="{FF2B5EF4-FFF2-40B4-BE49-F238E27FC236}">
                  <a16:creationId xmlns:a16="http://schemas.microsoft.com/office/drawing/2014/main" id="{EB2C8933-4D77-4DE0-A477-987E6E83C6AF}"/>
                </a:ext>
              </a:extLst>
            </p:cNvPr>
            <p:cNvSpPr/>
            <p:nvPr/>
          </p:nvSpPr>
          <p:spPr>
            <a:xfrm>
              <a:off x="4094048" y="4104058"/>
              <a:ext cx="2681459" cy="2788159"/>
            </a:xfrm>
            <a:custGeom>
              <a:avLst/>
              <a:gdLst>
                <a:gd name="connsiteX0" fmla="*/ 57150 w 1790700"/>
                <a:gd name="connsiteY0" fmla="*/ 0 h 3086100"/>
                <a:gd name="connsiteX1" fmla="*/ 1790700 w 1790700"/>
                <a:gd name="connsiteY1" fmla="*/ 3086100 h 3086100"/>
                <a:gd name="connsiteX2" fmla="*/ 0 w 1790700"/>
                <a:gd name="connsiteY2" fmla="*/ 3067050 h 3086100"/>
                <a:gd name="connsiteX3" fmla="*/ 0 w 1790700"/>
                <a:gd name="connsiteY3" fmla="*/ 0 h 3086100"/>
                <a:gd name="connsiteX4" fmla="*/ 19050 w 1790700"/>
                <a:gd name="connsiteY4" fmla="*/ 38100 h 3086100"/>
                <a:gd name="connsiteX5" fmla="*/ 19050 w 1790700"/>
                <a:gd name="connsiteY5" fmla="*/ 57150 h 3086100"/>
                <a:gd name="connsiteX0" fmla="*/ 57150 w 1790700"/>
                <a:gd name="connsiteY0" fmla="*/ 0 h 3086100"/>
                <a:gd name="connsiteX1" fmla="*/ 1790700 w 1790700"/>
                <a:gd name="connsiteY1" fmla="*/ 3086100 h 3086100"/>
                <a:gd name="connsiteX2" fmla="*/ 0 w 1790700"/>
                <a:gd name="connsiteY2" fmla="*/ 3067050 h 3086100"/>
                <a:gd name="connsiteX3" fmla="*/ 0 w 1790700"/>
                <a:gd name="connsiteY3" fmla="*/ 0 h 3086100"/>
                <a:gd name="connsiteX4" fmla="*/ 19050 w 1790700"/>
                <a:gd name="connsiteY4" fmla="*/ 38100 h 3086100"/>
                <a:gd name="connsiteX0" fmla="*/ 57150 w 1790700"/>
                <a:gd name="connsiteY0" fmla="*/ 0 h 3086100"/>
                <a:gd name="connsiteX1" fmla="*/ 1790700 w 1790700"/>
                <a:gd name="connsiteY1" fmla="*/ 3086100 h 3086100"/>
                <a:gd name="connsiteX2" fmla="*/ 0 w 1790700"/>
                <a:gd name="connsiteY2" fmla="*/ 3067050 h 3086100"/>
                <a:gd name="connsiteX3" fmla="*/ 0 w 1790700"/>
                <a:gd name="connsiteY3" fmla="*/ 0 h 3086100"/>
                <a:gd name="connsiteX0" fmla="*/ 57150 w 1790700"/>
                <a:gd name="connsiteY0" fmla="*/ 0 h 3086100"/>
                <a:gd name="connsiteX1" fmla="*/ 1790700 w 1790700"/>
                <a:gd name="connsiteY1" fmla="*/ 3086100 h 3086100"/>
                <a:gd name="connsiteX2" fmla="*/ 0 w 1790700"/>
                <a:gd name="connsiteY2" fmla="*/ 3067050 h 3086100"/>
                <a:gd name="connsiteX0" fmla="*/ 0 w 1733550"/>
                <a:gd name="connsiteY0" fmla="*/ 0 h 3086100"/>
                <a:gd name="connsiteX1" fmla="*/ 1733550 w 1733550"/>
                <a:gd name="connsiteY1" fmla="*/ 3086100 h 3086100"/>
                <a:gd name="connsiteX2" fmla="*/ 613087 w 1733550"/>
                <a:gd name="connsiteY2" fmla="*/ 3077523 h 3086100"/>
                <a:gd name="connsiteX0" fmla="*/ 245654 w 1120463"/>
                <a:gd name="connsiteY0" fmla="*/ 0 h 1525705"/>
                <a:gd name="connsiteX1" fmla="*/ 1120463 w 1120463"/>
                <a:gd name="connsiteY1" fmla="*/ 1525705 h 1525705"/>
                <a:gd name="connsiteX2" fmla="*/ 0 w 1120463"/>
                <a:gd name="connsiteY2" fmla="*/ 1517128 h 1525705"/>
                <a:gd name="connsiteX0" fmla="*/ 811167 w 1120463"/>
                <a:gd name="connsiteY0" fmla="*/ 0 h 1211531"/>
                <a:gd name="connsiteX1" fmla="*/ 1120463 w 1120463"/>
                <a:gd name="connsiteY1" fmla="*/ 1211531 h 1211531"/>
                <a:gd name="connsiteX2" fmla="*/ 0 w 1120463"/>
                <a:gd name="connsiteY2" fmla="*/ 1202954 h 1211531"/>
                <a:gd name="connsiteX0" fmla="*/ 874002 w 1183298"/>
                <a:gd name="connsiteY0" fmla="*/ 0 h 1213426"/>
                <a:gd name="connsiteX1" fmla="*/ 1183298 w 1183298"/>
                <a:gd name="connsiteY1" fmla="*/ 1211531 h 1213426"/>
                <a:gd name="connsiteX2" fmla="*/ 0 w 1183298"/>
                <a:gd name="connsiteY2" fmla="*/ 1213426 h 1213426"/>
                <a:gd name="connsiteX0" fmla="*/ 857693 w 1166989"/>
                <a:gd name="connsiteY0" fmla="*/ 0 h 1213426"/>
                <a:gd name="connsiteX1" fmla="*/ 1166989 w 1166989"/>
                <a:gd name="connsiteY1" fmla="*/ 1211531 h 1213426"/>
                <a:gd name="connsiteX2" fmla="*/ 0 w 1166989"/>
                <a:gd name="connsiteY2" fmla="*/ 1213426 h 12134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166989" h="1213426">
                  <a:moveTo>
                    <a:pt x="857693" y="0"/>
                  </a:moveTo>
                  <a:lnTo>
                    <a:pt x="1166989" y="1211531"/>
                  </a:lnTo>
                  <a:lnTo>
                    <a:pt x="0" y="1213426"/>
                  </a:lnTo>
                </a:path>
              </a:pathLst>
            </a:custGeom>
            <a:gradFill>
              <a:gsLst>
                <a:gs pos="2000">
                  <a:schemeClr val="bg2">
                    <a:lumMod val="50000"/>
                  </a:schemeClr>
                </a:gs>
                <a:gs pos="100000">
                  <a:schemeClr val="bg2"/>
                </a:gs>
              </a:gsLst>
              <a:lin ang="36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9" name="Isosceles Triangle 3">
              <a:extLst>
                <a:ext uri="{FF2B5EF4-FFF2-40B4-BE49-F238E27FC236}">
                  <a16:creationId xmlns:a16="http://schemas.microsoft.com/office/drawing/2014/main" id="{4F4EF7A4-035D-4172-AF61-5D3483B2916C}"/>
                </a:ext>
              </a:extLst>
            </p:cNvPr>
            <p:cNvSpPr/>
            <p:nvPr/>
          </p:nvSpPr>
          <p:spPr>
            <a:xfrm rot="13120470">
              <a:off x="5797893" y="-1695594"/>
              <a:ext cx="2123869" cy="9445752"/>
            </a:xfrm>
            <a:custGeom>
              <a:avLst/>
              <a:gdLst>
                <a:gd name="connsiteX0" fmla="*/ 0 w 1349298"/>
                <a:gd name="connsiteY0" fmla="*/ 5885253 h 5885253"/>
                <a:gd name="connsiteX1" fmla="*/ 674649 w 1349298"/>
                <a:gd name="connsiteY1" fmla="*/ 0 h 5885253"/>
                <a:gd name="connsiteX2" fmla="*/ 1349298 w 1349298"/>
                <a:gd name="connsiteY2" fmla="*/ 5885253 h 5885253"/>
                <a:gd name="connsiteX3" fmla="*/ 0 w 1349298"/>
                <a:gd name="connsiteY3" fmla="*/ 5885253 h 5885253"/>
                <a:gd name="connsiteX0" fmla="*/ 0 w 1304760"/>
                <a:gd name="connsiteY0" fmla="*/ 5885253 h 5885253"/>
                <a:gd name="connsiteX1" fmla="*/ 674649 w 1304760"/>
                <a:gd name="connsiteY1" fmla="*/ 0 h 5885253"/>
                <a:gd name="connsiteX2" fmla="*/ 1304760 w 1304760"/>
                <a:gd name="connsiteY2" fmla="*/ 5698299 h 5885253"/>
                <a:gd name="connsiteX3" fmla="*/ 0 w 1304760"/>
                <a:gd name="connsiteY3" fmla="*/ 5885253 h 5885253"/>
                <a:gd name="connsiteX0" fmla="*/ 0 w 1386992"/>
                <a:gd name="connsiteY0" fmla="*/ 5829786 h 5829786"/>
                <a:gd name="connsiteX1" fmla="*/ 756881 w 1386992"/>
                <a:gd name="connsiteY1" fmla="*/ 0 h 5829786"/>
                <a:gd name="connsiteX2" fmla="*/ 1386992 w 1386992"/>
                <a:gd name="connsiteY2" fmla="*/ 5698299 h 5829786"/>
                <a:gd name="connsiteX3" fmla="*/ 0 w 1386992"/>
                <a:gd name="connsiteY3" fmla="*/ 5829786 h 5829786"/>
                <a:gd name="connsiteX0" fmla="*/ 0 w 1613616"/>
                <a:gd name="connsiteY0" fmla="*/ 5273942 h 5698299"/>
                <a:gd name="connsiteX1" fmla="*/ 983505 w 1613616"/>
                <a:gd name="connsiteY1" fmla="*/ 0 h 5698299"/>
                <a:gd name="connsiteX2" fmla="*/ 1613616 w 1613616"/>
                <a:gd name="connsiteY2" fmla="*/ 5698299 h 5698299"/>
                <a:gd name="connsiteX3" fmla="*/ 0 w 1613616"/>
                <a:gd name="connsiteY3" fmla="*/ 5273942 h 5698299"/>
                <a:gd name="connsiteX0" fmla="*/ 0 w 2111499"/>
                <a:gd name="connsiteY0" fmla="*/ 5273942 h 5273942"/>
                <a:gd name="connsiteX1" fmla="*/ 983505 w 2111499"/>
                <a:gd name="connsiteY1" fmla="*/ 0 h 5273942"/>
                <a:gd name="connsiteX2" fmla="*/ 2111499 w 2111499"/>
                <a:gd name="connsiteY2" fmla="*/ 4721711 h 5273942"/>
                <a:gd name="connsiteX3" fmla="*/ 0 w 2111499"/>
                <a:gd name="connsiteY3" fmla="*/ 5273942 h 5273942"/>
                <a:gd name="connsiteX0" fmla="*/ 0 w 2111499"/>
                <a:gd name="connsiteY0" fmla="*/ 4717306 h 4717306"/>
                <a:gd name="connsiteX1" fmla="*/ 932758 w 2111499"/>
                <a:gd name="connsiteY1" fmla="*/ 0 h 4717306"/>
                <a:gd name="connsiteX2" fmla="*/ 2111499 w 2111499"/>
                <a:gd name="connsiteY2" fmla="*/ 4165075 h 4717306"/>
                <a:gd name="connsiteX3" fmla="*/ 0 w 2111499"/>
                <a:gd name="connsiteY3" fmla="*/ 4717306 h 4717306"/>
                <a:gd name="connsiteX0" fmla="*/ 0 w 3931298"/>
                <a:gd name="connsiteY0" fmla="*/ 4717306 h 4717306"/>
                <a:gd name="connsiteX1" fmla="*/ 932758 w 3931298"/>
                <a:gd name="connsiteY1" fmla="*/ 0 h 4717306"/>
                <a:gd name="connsiteX2" fmla="*/ 3931298 w 3931298"/>
                <a:gd name="connsiteY2" fmla="*/ 4480286 h 4717306"/>
                <a:gd name="connsiteX3" fmla="*/ 0 w 3931298"/>
                <a:gd name="connsiteY3" fmla="*/ 4717306 h 4717306"/>
                <a:gd name="connsiteX0" fmla="*/ 35679 w 2998540"/>
                <a:gd name="connsiteY0" fmla="*/ 5024381 h 5024381"/>
                <a:gd name="connsiteX1" fmla="*/ 0 w 2998540"/>
                <a:gd name="connsiteY1" fmla="*/ 0 h 5024381"/>
                <a:gd name="connsiteX2" fmla="*/ 2998540 w 2998540"/>
                <a:gd name="connsiteY2" fmla="*/ 4480286 h 5024381"/>
                <a:gd name="connsiteX3" fmla="*/ 35679 w 2998540"/>
                <a:gd name="connsiteY3" fmla="*/ 5024381 h 5024381"/>
                <a:gd name="connsiteX0" fmla="*/ 0 w 3359513"/>
                <a:gd name="connsiteY0" fmla="*/ 4923649 h 4923649"/>
                <a:gd name="connsiteX1" fmla="*/ 360973 w 3359513"/>
                <a:gd name="connsiteY1" fmla="*/ 0 h 4923649"/>
                <a:gd name="connsiteX2" fmla="*/ 3359513 w 3359513"/>
                <a:gd name="connsiteY2" fmla="*/ 4480286 h 4923649"/>
                <a:gd name="connsiteX3" fmla="*/ 0 w 3359513"/>
                <a:gd name="connsiteY3" fmla="*/ 4923649 h 4923649"/>
                <a:gd name="connsiteX0" fmla="*/ 0 w 3359513"/>
                <a:gd name="connsiteY0" fmla="*/ 4137435 h 4137435"/>
                <a:gd name="connsiteX1" fmla="*/ 1823306 w 3359513"/>
                <a:gd name="connsiteY1" fmla="*/ 0 h 4137435"/>
                <a:gd name="connsiteX2" fmla="*/ 3359513 w 3359513"/>
                <a:gd name="connsiteY2" fmla="*/ 3694072 h 4137435"/>
                <a:gd name="connsiteX3" fmla="*/ 0 w 3359513"/>
                <a:gd name="connsiteY3" fmla="*/ 4137435 h 4137435"/>
                <a:gd name="connsiteX0" fmla="*/ 0 w 3163954"/>
                <a:gd name="connsiteY0" fmla="*/ 4137435 h 4137435"/>
                <a:gd name="connsiteX1" fmla="*/ 1823306 w 3163954"/>
                <a:gd name="connsiteY1" fmla="*/ 0 h 4137435"/>
                <a:gd name="connsiteX2" fmla="*/ 3163954 w 3163954"/>
                <a:gd name="connsiteY2" fmla="*/ 3451242 h 4137435"/>
                <a:gd name="connsiteX3" fmla="*/ 0 w 3163954"/>
                <a:gd name="connsiteY3" fmla="*/ 4137435 h 4137435"/>
                <a:gd name="connsiteX0" fmla="*/ 0 w 2066613"/>
                <a:gd name="connsiteY0" fmla="*/ 4130703 h 4130703"/>
                <a:gd name="connsiteX1" fmla="*/ 725965 w 2066613"/>
                <a:gd name="connsiteY1" fmla="*/ 0 h 4130703"/>
                <a:gd name="connsiteX2" fmla="*/ 2066613 w 2066613"/>
                <a:gd name="connsiteY2" fmla="*/ 3451242 h 4130703"/>
                <a:gd name="connsiteX3" fmla="*/ 0 w 2066613"/>
                <a:gd name="connsiteY3" fmla="*/ 4130703 h 4130703"/>
                <a:gd name="connsiteX0" fmla="*/ 0 w 2119185"/>
                <a:gd name="connsiteY0" fmla="*/ 4203399 h 4203399"/>
                <a:gd name="connsiteX1" fmla="*/ 778537 w 2119185"/>
                <a:gd name="connsiteY1" fmla="*/ 0 h 4203399"/>
                <a:gd name="connsiteX2" fmla="*/ 2119185 w 2119185"/>
                <a:gd name="connsiteY2" fmla="*/ 3451242 h 4203399"/>
                <a:gd name="connsiteX3" fmla="*/ 0 w 2119185"/>
                <a:gd name="connsiteY3" fmla="*/ 4203399 h 4203399"/>
                <a:gd name="connsiteX0" fmla="*/ 0 w 2119185"/>
                <a:gd name="connsiteY0" fmla="*/ 4216619 h 4216619"/>
                <a:gd name="connsiteX1" fmla="*/ 816110 w 2119185"/>
                <a:gd name="connsiteY1" fmla="*/ 0 h 4216619"/>
                <a:gd name="connsiteX2" fmla="*/ 2119185 w 2119185"/>
                <a:gd name="connsiteY2" fmla="*/ 3464462 h 4216619"/>
                <a:gd name="connsiteX3" fmla="*/ 0 w 2119185"/>
                <a:gd name="connsiteY3" fmla="*/ 4216619 h 4216619"/>
                <a:gd name="connsiteX0" fmla="*/ 0 w 2119185"/>
                <a:gd name="connsiteY0" fmla="*/ 4184713 h 4184713"/>
                <a:gd name="connsiteX1" fmla="*/ 797400 w 2119185"/>
                <a:gd name="connsiteY1" fmla="*/ 0 h 4184713"/>
                <a:gd name="connsiteX2" fmla="*/ 2119185 w 2119185"/>
                <a:gd name="connsiteY2" fmla="*/ 3432556 h 4184713"/>
                <a:gd name="connsiteX3" fmla="*/ 0 w 2119185"/>
                <a:gd name="connsiteY3" fmla="*/ 4184713 h 4184713"/>
                <a:gd name="connsiteX0" fmla="*/ 0 w 2119185"/>
                <a:gd name="connsiteY0" fmla="*/ 4163102 h 4163102"/>
                <a:gd name="connsiteX1" fmla="*/ 807948 w 2119185"/>
                <a:gd name="connsiteY1" fmla="*/ 0 h 4163102"/>
                <a:gd name="connsiteX2" fmla="*/ 2119185 w 2119185"/>
                <a:gd name="connsiteY2" fmla="*/ 3410945 h 4163102"/>
                <a:gd name="connsiteX3" fmla="*/ 0 w 2119185"/>
                <a:gd name="connsiteY3" fmla="*/ 4163102 h 4163102"/>
                <a:gd name="connsiteX0" fmla="*/ 0 w 2123869"/>
                <a:gd name="connsiteY0" fmla="*/ 4163102 h 4163102"/>
                <a:gd name="connsiteX1" fmla="*/ 807948 w 2123869"/>
                <a:gd name="connsiteY1" fmla="*/ 0 h 4163102"/>
                <a:gd name="connsiteX2" fmla="*/ 2123869 w 2123869"/>
                <a:gd name="connsiteY2" fmla="*/ 3413517 h 4163102"/>
                <a:gd name="connsiteX3" fmla="*/ 0 w 2123869"/>
                <a:gd name="connsiteY3" fmla="*/ 4163102 h 41631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123869" h="4163102">
                  <a:moveTo>
                    <a:pt x="0" y="4163102"/>
                  </a:moveTo>
                  <a:lnTo>
                    <a:pt x="807948" y="0"/>
                  </a:lnTo>
                  <a:lnTo>
                    <a:pt x="2123869" y="3413517"/>
                  </a:lnTo>
                  <a:lnTo>
                    <a:pt x="0" y="4163102"/>
                  </a:lnTo>
                  <a:close/>
                </a:path>
              </a:pathLst>
            </a:custGeom>
            <a:gradFill>
              <a:gsLst>
                <a:gs pos="2000">
                  <a:schemeClr val="bg2">
                    <a:lumMod val="75000"/>
                  </a:schemeClr>
                </a:gs>
                <a:gs pos="100000">
                  <a:schemeClr val="bg2"/>
                </a:gs>
              </a:gsLst>
              <a:lin ang="126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ltGray">
          <a:xfrm>
            <a:off x="427701" y="1463040"/>
            <a:ext cx="5669280" cy="1935933"/>
          </a:xfrm>
        </p:spPr>
        <p:txBody>
          <a:bodyPr wrap="square" tIns="91440" anchor="ctr" anchorCtr="0">
            <a:noAutofit/>
          </a:bodyPr>
          <a:lstStyle>
            <a:lvl1pPr>
              <a:lnSpc>
                <a:spcPct val="80000"/>
              </a:lnSpc>
              <a:defRPr sz="5400" b="0" cap="all" baseline="0">
                <a:solidFill>
                  <a:schemeClr val="bg2"/>
                </a:solidFill>
                <a:effectLst/>
                <a:latin typeface="+mj-lt"/>
              </a:defRPr>
            </a:lvl1pPr>
          </a:lstStyle>
          <a:p>
            <a:r>
              <a:rPr lang="en-US" dirty="0"/>
              <a:t>Click to Add Presentation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27702" y="4962602"/>
            <a:ext cx="4754880" cy="276999"/>
          </a:xfrm>
        </p:spPr>
        <p:txBody>
          <a:bodyPr wrap="square" anchor="b">
            <a:noAutofit/>
          </a:bodyPr>
          <a:lstStyle>
            <a:lvl1pPr marL="0" indent="0" algn="l">
              <a:spcBef>
                <a:spcPts val="0"/>
              </a:spcBef>
              <a:buNone/>
              <a:defRPr sz="2000" b="0">
                <a:solidFill>
                  <a:schemeClr val="bg1"/>
                </a:solidFill>
                <a:effectLst/>
                <a:latin typeface="+mn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Add Presenter’s Nam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27702" y="5274168"/>
            <a:ext cx="4572000" cy="22159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1600">
                <a:solidFill>
                  <a:schemeClr val="bg1"/>
                </a:solidFill>
                <a:effectLst/>
                <a:latin typeface="+mn-lt"/>
              </a:defRPr>
            </a:lvl1pPr>
            <a:lvl2pPr marL="455613" indent="0">
              <a:buNone/>
              <a:defRPr>
                <a:solidFill>
                  <a:schemeClr val="bg1"/>
                </a:solidFill>
              </a:defRPr>
            </a:lvl2pPr>
            <a:lvl3pPr marL="914400" indent="0">
              <a:buNone/>
              <a:defRPr>
                <a:solidFill>
                  <a:schemeClr val="bg1"/>
                </a:solidFill>
              </a:defRPr>
            </a:lvl3pPr>
            <a:lvl4pPr marL="1371600" indent="0">
              <a:buNone/>
              <a:defRPr>
                <a:solidFill>
                  <a:schemeClr val="bg1"/>
                </a:solidFill>
              </a:defRPr>
            </a:lvl4pPr>
            <a:lvl5pPr marL="18288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Add Presenter’s Titl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427702" y="6268953"/>
            <a:ext cx="3749040" cy="193899"/>
          </a:xfrm>
        </p:spPr>
        <p:txBody>
          <a:bodyPr anchor="b" anchorCtr="0">
            <a:noAutofit/>
          </a:bodyPr>
          <a:lstStyle>
            <a:lvl1pPr marL="0" indent="0" algn="l">
              <a:spcBef>
                <a:spcPts val="0"/>
              </a:spcBef>
              <a:buFontTx/>
              <a:buNone/>
              <a:defRPr sz="1400">
                <a:solidFill>
                  <a:schemeClr val="bg1"/>
                </a:solidFill>
                <a:effectLst/>
                <a:latin typeface="+mn-lt"/>
              </a:defRPr>
            </a:lvl1pPr>
            <a:lvl2pPr marL="455613" indent="0">
              <a:buFontTx/>
              <a:buNone/>
              <a:defRPr sz="1500">
                <a:solidFill>
                  <a:schemeClr val="bg1"/>
                </a:solidFill>
                <a:latin typeface="Arial Narrow" pitchFamily="34" charset="0"/>
              </a:defRPr>
            </a:lvl2pPr>
            <a:lvl3pPr marL="914400" indent="0">
              <a:buFontTx/>
              <a:buNone/>
              <a:defRPr sz="1500">
                <a:solidFill>
                  <a:schemeClr val="bg1"/>
                </a:solidFill>
                <a:latin typeface="Arial Narrow" pitchFamily="34" charset="0"/>
              </a:defRPr>
            </a:lvl3pPr>
            <a:lvl4pPr marL="1371600" indent="0">
              <a:buFontTx/>
              <a:buNone/>
              <a:defRPr sz="1500">
                <a:solidFill>
                  <a:schemeClr val="bg1"/>
                </a:solidFill>
                <a:latin typeface="Arial Narrow" pitchFamily="34" charset="0"/>
              </a:defRPr>
            </a:lvl4pPr>
            <a:lvl5pPr marL="1828800" indent="0">
              <a:buFontTx/>
              <a:buNone/>
              <a:defRPr sz="1500">
                <a:solidFill>
                  <a:schemeClr val="bg1"/>
                </a:solidFill>
                <a:latin typeface="Arial Narrow" pitchFamily="34" charset="0"/>
              </a:defRPr>
            </a:lvl5pPr>
          </a:lstStyle>
          <a:p>
            <a:pPr lvl="0"/>
            <a:r>
              <a:rPr lang="en-US" dirty="0"/>
              <a:t>Click to Add Date</a:t>
            </a:r>
          </a:p>
        </p:txBody>
      </p:sp>
    </p:spTree>
    <p:extLst>
      <p:ext uri="{BB962C8B-B14F-4D97-AF65-F5344CB8AC3E}">
        <p14:creationId xmlns:p14="http://schemas.microsoft.com/office/powerpoint/2010/main" val="237542705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hf sldNum="0" hdr="0" dt="0"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le 21"/>
          <p:cNvSpPr>
            <a:spLocks noGrp="1"/>
          </p:cNvSpPr>
          <p:nvPr>
            <p:ph type="title" hasCustomPrompt="1"/>
          </p:nvPr>
        </p:nvSpPr>
        <p:spPr bwMode="gray">
          <a:xfrm>
            <a:off x="1577978" y="3820267"/>
            <a:ext cx="8162668" cy="812889"/>
          </a:xfrm>
        </p:spPr>
        <p:txBody>
          <a:bodyPr anchor="ctr" anchorCtr="0"/>
          <a:lstStyle>
            <a:lvl1pPr algn="l">
              <a:defRPr lang="en-US" sz="5400" dirty="0">
                <a:solidFill>
                  <a:schemeClr val="bg2"/>
                </a:solidFill>
              </a:defRPr>
            </a:lvl1pPr>
          </a:lstStyle>
          <a:p>
            <a:pPr marL="0" lvl="0">
              <a:lnSpc>
                <a:spcPct val="90000"/>
              </a:lnSpc>
              <a:spcBef>
                <a:spcPts val="1200"/>
              </a:spcBef>
            </a:pPr>
            <a:r>
              <a:rPr lang="en-US" dirty="0"/>
              <a:t>Click to </a:t>
            </a:r>
            <a:r>
              <a:rPr lang="en-US"/>
              <a:t>add title</a:t>
            </a:r>
            <a:endParaRPr lang="en-US" dirty="0"/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A5FB7C47-AE33-4786-B8B7-7ECE41E10698}"/>
              </a:ext>
            </a:extLst>
          </p:cNvPr>
          <p:cNvGrpSpPr/>
          <p:nvPr userDrawn="1"/>
        </p:nvGrpSpPr>
        <p:grpSpPr>
          <a:xfrm>
            <a:off x="9260732" y="1084521"/>
            <a:ext cx="2966710" cy="5794744"/>
            <a:chOff x="9260732" y="1084521"/>
            <a:chExt cx="2966710" cy="5794744"/>
          </a:xfrm>
        </p:grpSpPr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265F1314-BF98-4A68-8138-2CB07DB72EEB}"/>
                </a:ext>
              </a:extLst>
            </p:cNvPr>
            <p:cNvSpPr/>
            <p:nvPr userDrawn="1"/>
          </p:nvSpPr>
          <p:spPr>
            <a:xfrm>
              <a:off x="10758656" y="1088910"/>
              <a:ext cx="1445441" cy="5774567"/>
            </a:xfrm>
            <a:custGeom>
              <a:avLst/>
              <a:gdLst>
                <a:gd name="connsiteX0" fmla="*/ 1424763 w 1456660"/>
                <a:gd name="connsiteY0" fmla="*/ 2604977 h 5794744"/>
                <a:gd name="connsiteX1" fmla="*/ 1456660 w 1456660"/>
                <a:gd name="connsiteY1" fmla="*/ 0 h 5794744"/>
                <a:gd name="connsiteX2" fmla="*/ 0 w 1456660"/>
                <a:gd name="connsiteY2" fmla="*/ 5794744 h 5794744"/>
                <a:gd name="connsiteX3" fmla="*/ 148856 w 1456660"/>
                <a:gd name="connsiteY3" fmla="*/ 5773479 h 5794744"/>
                <a:gd name="connsiteX4" fmla="*/ 1424763 w 1456660"/>
                <a:gd name="connsiteY4" fmla="*/ 2604977 h 5794744"/>
                <a:gd name="connsiteX0" fmla="*/ 1424763 w 1456660"/>
                <a:gd name="connsiteY0" fmla="*/ 2604977 h 5777982"/>
                <a:gd name="connsiteX1" fmla="*/ 1456660 w 1456660"/>
                <a:gd name="connsiteY1" fmla="*/ 0 h 5777982"/>
                <a:gd name="connsiteX2" fmla="*/ 0 w 1456660"/>
                <a:gd name="connsiteY2" fmla="*/ 5777982 h 5777982"/>
                <a:gd name="connsiteX3" fmla="*/ 148856 w 1456660"/>
                <a:gd name="connsiteY3" fmla="*/ 5773479 h 5777982"/>
                <a:gd name="connsiteX4" fmla="*/ 1424763 w 1456660"/>
                <a:gd name="connsiteY4" fmla="*/ 2604977 h 5777982"/>
                <a:gd name="connsiteX0" fmla="*/ 1424763 w 1434221"/>
                <a:gd name="connsiteY0" fmla="*/ 2593803 h 5766808"/>
                <a:gd name="connsiteX1" fmla="*/ 1434221 w 1434221"/>
                <a:gd name="connsiteY1" fmla="*/ 0 h 5766808"/>
                <a:gd name="connsiteX2" fmla="*/ 0 w 1434221"/>
                <a:gd name="connsiteY2" fmla="*/ 5766808 h 5766808"/>
                <a:gd name="connsiteX3" fmla="*/ 148856 w 1434221"/>
                <a:gd name="connsiteY3" fmla="*/ 5762305 h 5766808"/>
                <a:gd name="connsiteX4" fmla="*/ 1424763 w 1434221"/>
                <a:gd name="connsiteY4" fmla="*/ 2593803 h 5766808"/>
                <a:gd name="connsiteX0" fmla="*/ 1435983 w 1445441"/>
                <a:gd name="connsiteY0" fmla="*/ 2593803 h 5762305"/>
                <a:gd name="connsiteX1" fmla="*/ 1445441 w 1445441"/>
                <a:gd name="connsiteY1" fmla="*/ 0 h 5762305"/>
                <a:gd name="connsiteX2" fmla="*/ 0 w 1445441"/>
                <a:gd name="connsiteY2" fmla="*/ 5750047 h 5762305"/>
                <a:gd name="connsiteX3" fmla="*/ 160076 w 1445441"/>
                <a:gd name="connsiteY3" fmla="*/ 5762305 h 5762305"/>
                <a:gd name="connsiteX4" fmla="*/ 1435983 w 1445441"/>
                <a:gd name="connsiteY4" fmla="*/ 2593803 h 5762305"/>
                <a:gd name="connsiteX0" fmla="*/ 1435983 w 1445441"/>
                <a:gd name="connsiteY0" fmla="*/ 2593803 h 5751132"/>
                <a:gd name="connsiteX1" fmla="*/ 1445441 w 1445441"/>
                <a:gd name="connsiteY1" fmla="*/ 0 h 5751132"/>
                <a:gd name="connsiteX2" fmla="*/ 0 w 1445441"/>
                <a:gd name="connsiteY2" fmla="*/ 5750047 h 5751132"/>
                <a:gd name="connsiteX3" fmla="*/ 160076 w 1445441"/>
                <a:gd name="connsiteY3" fmla="*/ 5751132 h 5751132"/>
                <a:gd name="connsiteX4" fmla="*/ 1435983 w 1445441"/>
                <a:gd name="connsiteY4" fmla="*/ 2593803 h 57511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45441" h="5751132">
                  <a:moveTo>
                    <a:pt x="1435983" y="2593803"/>
                  </a:moveTo>
                  <a:cubicBezTo>
                    <a:pt x="1439136" y="1729202"/>
                    <a:pt x="1442288" y="864601"/>
                    <a:pt x="1445441" y="0"/>
                  </a:cubicBezTo>
                  <a:lnTo>
                    <a:pt x="0" y="5750047"/>
                  </a:lnTo>
                  <a:lnTo>
                    <a:pt x="160076" y="5751132"/>
                  </a:lnTo>
                  <a:lnTo>
                    <a:pt x="1435983" y="2593803"/>
                  </a:lnTo>
                  <a:close/>
                </a:path>
              </a:pathLst>
            </a:custGeom>
            <a:gradFill>
              <a:gsLst>
                <a:gs pos="34000">
                  <a:schemeClr val="bg2"/>
                </a:gs>
                <a:gs pos="68000">
                  <a:srgbClr val="5BA23C"/>
                </a:gs>
              </a:gsLst>
              <a:lin ang="210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521E371F-1A59-474E-B95B-89195D83A3E8}"/>
                </a:ext>
              </a:extLst>
            </p:cNvPr>
            <p:cNvSpPr/>
            <p:nvPr userDrawn="1"/>
          </p:nvSpPr>
          <p:spPr>
            <a:xfrm>
              <a:off x="10019490" y="3789410"/>
              <a:ext cx="1556426" cy="3083668"/>
            </a:xfrm>
            <a:custGeom>
              <a:avLst/>
              <a:gdLst>
                <a:gd name="connsiteX0" fmla="*/ 749030 w 1556426"/>
                <a:gd name="connsiteY0" fmla="*/ 3073940 h 3083668"/>
                <a:gd name="connsiteX1" fmla="*/ 0 w 1556426"/>
                <a:gd name="connsiteY1" fmla="*/ 3083668 h 3083668"/>
                <a:gd name="connsiteX2" fmla="*/ 1556426 w 1556426"/>
                <a:gd name="connsiteY2" fmla="*/ 0 h 3083668"/>
                <a:gd name="connsiteX3" fmla="*/ 749030 w 1556426"/>
                <a:gd name="connsiteY3" fmla="*/ 3073940 h 3083668"/>
                <a:gd name="connsiteX0" fmla="*/ 749030 w 1556426"/>
                <a:gd name="connsiteY0" fmla="*/ 3073940 h 3083668"/>
                <a:gd name="connsiteX1" fmla="*/ 0 w 1556426"/>
                <a:gd name="connsiteY1" fmla="*/ 3083668 h 3083668"/>
                <a:gd name="connsiteX2" fmla="*/ 1556426 w 1556426"/>
                <a:gd name="connsiteY2" fmla="*/ 0 h 3083668"/>
                <a:gd name="connsiteX3" fmla="*/ 749030 w 1556426"/>
                <a:gd name="connsiteY3" fmla="*/ 3073940 h 3083668"/>
                <a:gd name="connsiteX0" fmla="*/ 740065 w 1556426"/>
                <a:gd name="connsiteY0" fmla="*/ 3073940 h 3083668"/>
                <a:gd name="connsiteX1" fmla="*/ 0 w 1556426"/>
                <a:gd name="connsiteY1" fmla="*/ 3083668 h 3083668"/>
                <a:gd name="connsiteX2" fmla="*/ 1556426 w 1556426"/>
                <a:gd name="connsiteY2" fmla="*/ 0 h 3083668"/>
                <a:gd name="connsiteX3" fmla="*/ 740065 w 1556426"/>
                <a:gd name="connsiteY3" fmla="*/ 3073940 h 30836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56426" h="3083668">
                  <a:moveTo>
                    <a:pt x="740065" y="3073940"/>
                  </a:moveTo>
                  <a:lnTo>
                    <a:pt x="0" y="3083668"/>
                  </a:lnTo>
                  <a:lnTo>
                    <a:pt x="1556426" y="0"/>
                  </a:lnTo>
                  <a:lnTo>
                    <a:pt x="740065" y="3073940"/>
                  </a:lnTo>
                  <a:close/>
                </a:path>
              </a:pathLst>
            </a:custGeom>
            <a:gradFill>
              <a:gsLst>
                <a:gs pos="97000">
                  <a:srgbClr val="62B53F"/>
                </a:gs>
                <a:gs pos="100000">
                  <a:srgbClr val="529533"/>
                </a:gs>
              </a:gsLst>
              <a:lin ang="144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CE17FC41-0F0D-4F05-888B-05BC3B984146}"/>
                </a:ext>
              </a:extLst>
            </p:cNvPr>
            <p:cNvSpPr/>
            <p:nvPr userDrawn="1"/>
          </p:nvSpPr>
          <p:spPr>
            <a:xfrm>
              <a:off x="9260732" y="3322482"/>
              <a:ext cx="2422187" cy="3550596"/>
            </a:xfrm>
            <a:custGeom>
              <a:avLst/>
              <a:gdLst>
                <a:gd name="connsiteX0" fmla="*/ 2373549 w 2373549"/>
                <a:gd name="connsiteY0" fmla="*/ 0 h 3550596"/>
                <a:gd name="connsiteX1" fmla="*/ 2237362 w 2373549"/>
                <a:gd name="connsiteY1" fmla="*/ 651753 h 3550596"/>
                <a:gd name="connsiteX2" fmla="*/ 778213 w 2373549"/>
                <a:gd name="connsiteY2" fmla="*/ 3531141 h 3550596"/>
                <a:gd name="connsiteX3" fmla="*/ 0 w 2373549"/>
                <a:gd name="connsiteY3" fmla="*/ 3550596 h 3550596"/>
                <a:gd name="connsiteX4" fmla="*/ 2373549 w 2373549"/>
                <a:gd name="connsiteY4" fmla="*/ 0 h 3550596"/>
                <a:gd name="connsiteX0" fmla="*/ 2422187 w 2422187"/>
                <a:gd name="connsiteY0" fmla="*/ 0 h 3540868"/>
                <a:gd name="connsiteX1" fmla="*/ 2237362 w 2422187"/>
                <a:gd name="connsiteY1" fmla="*/ 642025 h 3540868"/>
                <a:gd name="connsiteX2" fmla="*/ 778213 w 2422187"/>
                <a:gd name="connsiteY2" fmla="*/ 3521413 h 3540868"/>
                <a:gd name="connsiteX3" fmla="*/ 0 w 2422187"/>
                <a:gd name="connsiteY3" fmla="*/ 3540868 h 3540868"/>
                <a:gd name="connsiteX4" fmla="*/ 2422187 w 2422187"/>
                <a:gd name="connsiteY4" fmla="*/ 0 h 3540868"/>
                <a:gd name="connsiteX0" fmla="*/ 2422187 w 2422187"/>
                <a:gd name="connsiteY0" fmla="*/ 0 h 3550596"/>
                <a:gd name="connsiteX1" fmla="*/ 2237362 w 2422187"/>
                <a:gd name="connsiteY1" fmla="*/ 642025 h 3550596"/>
                <a:gd name="connsiteX2" fmla="*/ 768485 w 2422187"/>
                <a:gd name="connsiteY2" fmla="*/ 3550596 h 3550596"/>
                <a:gd name="connsiteX3" fmla="*/ 0 w 2422187"/>
                <a:gd name="connsiteY3" fmla="*/ 3540868 h 3550596"/>
                <a:gd name="connsiteX4" fmla="*/ 2422187 w 2422187"/>
                <a:gd name="connsiteY4" fmla="*/ 0 h 35505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22187" h="3550596">
                  <a:moveTo>
                    <a:pt x="2422187" y="0"/>
                  </a:moveTo>
                  <a:lnTo>
                    <a:pt x="2237362" y="642025"/>
                  </a:lnTo>
                  <a:lnTo>
                    <a:pt x="768485" y="3550596"/>
                  </a:lnTo>
                  <a:lnTo>
                    <a:pt x="0" y="3540868"/>
                  </a:lnTo>
                  <a:lnTo>
                    <a:pt x="2422187" y="0"/>
                  </a:lnTo>
                  <a:close/>
                </a:path>
              </a:pathLst>
            </a:custGeom>
            <a:gradFill>
              <a:gsLst>
                <a:gs pos="34000">
                  <a:schemeClr val="bg2"/>
                </a:gs>
                <a:gs pos="71000">
                  <a:srgbClr val="5BA23C"/>
                </a:gs>
              </a:gsLst>
              <a:lin ang="174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21" name="Right Triangle 20">
              <a:extLst>
                <a:ext uri="{FF2B5EF4-FFF2-40B4-BE49-F238E27FC236}">
                  <a16:creationId xmlns:a16="http://schemas.microsoft.com/office/drawing/2014/main" id="{890D0B16-11C5-4D6A-AA98-2355BA19EA7B}"/>
                </a:ext>
              </a:extLst>
            </p:cNvPr>
            <p:cNvSpPr/>
            <p:nvPr userDrawn="1"/>
          </p:nvSpPr>
          <p:spPr>
            <a:xfrm flipH="1">
              <a:off x="10871603" y="3370178"/>
              <a:ext cx="1327484" cy="3501998"/>
            </a:xfrm>
            <a:prstGeom prst="rtTriangle">
              <a:avLst/>
            </a:prstGeom>
            <a:solidFill>
              <a:schemeClr val="tx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0A764A69-E67E-4D16-BC4B-51FC448F28CB}"/>
                </a:ext>
              </a:extLst>
            </p:cNvPr>
            <p:cNvSpPr/>
            <p:nvPr userDrawn="1"/>
          </p:nvSpPr>
          <p:spPr>
            <a:xfrm>
              <a:off x="10738884" y="1084521"/>
              <a:ext cx="1488558" cy="5794744"/>
            </a:xfrm>
            <a:custGeom>
              <a:avLst/>
              <a:gdLst>
                <a:gd name="connsiteX0" fmla="*/ 1446028 w 1488558"/>
                <a:gd name="connsiteY0" fmla="*/ 2658139 h 5794744"/>
                <a:gd name="connsiteX1" fmla="*/ 1446028 w 1488558"/>
                <a:gd name="connsiteY1" fmla="*/ 0 h 5794744"/>
                <a:gd name="connsiteX2" fmla="*/ 0 w 1488558"/>
                <a:gd name="connsiteY2" fmla="*/ 5794744 h 5794744"/>
                <a:gd name="connsiteX3" fmla="*/ 170121 w 1488558"/>
                <a:gd name="connsiteY3" fmla="*/ 5784112 h 5794744"/>
                <a:gd name="connsiteX4" fmla="*/ 1488558 w 1488558"/>
                <a:gd name="connsiteY4" fmla="*/ 2551814 h 5794744"/>
                <a:gd name="connsiteX5" fmla="*/ 1488558 w 1488558"/>
                <a:gd name="connsiteY5" fmla="*/ 2551814 h 5794744"/>
                <a:gd name="connsiteX6" fmla="*/ 1488558 w 1488558"/>
                <a:gd name="connsiteY6" fmla="*/ 2551814 h 57947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88558" h="5794744">
                  <a:moveTo>
                    <a:pt x="1446028" y="2658139"/>
                  </a:moveTo>
                  <a:lnTo>
                    <a:pt x="1446028" y="0"/>
                  </a:lnTo>
                  <a:lnTo>
                    <a:pt x="0" y="5794744"/>
                  </a:lnTo>
                  <a:lnTo>
                    <a:pt x="170121" y="5784112"/>
                  </a:lnTo>
                  <a:lnTo>
                    <a:pt x="1488558" y="2551814"/>
                  </a:lnTo>
                  <a:lnTo>
                    <a:pt x="1488558" y="2551814"/>
                  </a:lnTo>
                  <a:lnTo>
                    <a:pt x="1488558" y="2551814"/>
                  </a:lnTo>
                </a:path>
              </a:pathLst>
            </a:cu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6" name="Rectangle 6"/>
          <p:cNvSpPr txBox="1">
            <a:spLocks noChangeArrowheads="1"/>
          </p:cNvSpPr>
          <p:nvPr/>
        </p:nvSpPr>
        <p:spPr bwMode="white">
          <a:xfrm>
            <a:off x="11247120" y="6629401"/>
            <a:ext cx="592666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sz="700"/>
            </a:lvl1pPr>
          </a:lstStyle>
          <a:p>
            <a:pPr marL="0" marR="0" lvl="0" indent="0" algn="r" defTabSz="1086775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8D7874BA-B114-4D1F-A449-70AD1C45E88A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MS PGothic" pitchFamily="34" charset="-128"/>
                <a:cs typeface="+mn-cs"/>
              </a:rPr>
              <a:pPr marL="0" marR="0" lvl="0" indent="0" algn="r" defTabSz="1086775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n-lt"/>
              <a:ea typeface="MS PGothic" pitchFamily="34" charset="-128"/>
              <a:cs typeface="+mn-cs"/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52938D33-69AE-4EA8-B1F3-AEB045BF258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67460" y="312672"/>
            <a:ext cx="856680" cy="332728"/>
          </a:xfrm>
          <a:prstGeom prst="rect">
            <a:avLst/>
          </a:prstGeom>
        </p:spPr>
      </p:pic>
      <p:grpSp>
        <p:nvGrpSpPr>
          <p:cNvPr id="14" name="Group 13">
            <a:extLst>
              <a:ext uri="{FF2B5EF4-FFF2-40B4-BE49-F238E27FC236}">
                <a16:creationId xmlns:a16="http://schemas.microsoft.com/office/drawing/2014/main" id="{D3598208-AA80-467D-8193-8E836964952A}"/>
              </a:ext>
            </a:extLst>
          </p:cNvPr>
          <p:cNvGrpSpPr/>
          <p:nvPr userDrawn="1"/>
        </p:nvGrpSpPr>
        <p:grpSpPr>
          <a:xfrm>
            <a:off x="-6515" y="-465745"/>
            <a:ext cx="2284497" cy="7335777"/>
            <a:chOff x="-6515" y="-465745"/>
            <a:chExt cx="2284497" cy="7335777"/>
          </a:xfrm>
        </p:grpSpPr>
        <p:sp>
          <p:nvSpPr>
            <p:cNvPr id="15" name="Rectangle 4">
              <a:extLst>
                <a:ext uri="{FF2B5EF4-FFF2-40B4-BE49-F238E27FC236}">
                  <a16:creationId xmlns:a16="http://schemas.microsoft.com/office/drawing/2014/main" id="{46E2C9E0-78F4-4874-8B92-08E2A7C0061D}"/>
                </a:ext>
              </a:extLst>
            </p:cNvPr>
            <p:cNvSpPr/>
            <p:nvPr/>
          </p:nvSpPr>
          <p:spPr>
            <a:xfrm>
              <a:off x="0" y="-12032"/>
              <a:ext cx="2277982" cy="6870032"/>
            </a:xfrm>
            <a:custGeom>
              <a:avLst/>
              <a:gdLst>
                <a:gd name="connsiteX0" fmla="*/ 0 w 8385464"/>
                <a:gd name="connsiteY0" fmla="*/ 0 h 6858000"/>
                <a:gd name="connsiteX1" fmla="*/ 8385464 w 8385464"/>
                <a:gd name="connsiteY1" fmla="*/ 0 h 6858000"/>
                <a:gd name="connsiteX2" fmla="*/ 8385464 w 8385464"/>
                <a:gd name="connsiteY2" fmla="*/ 6858000 h 6858000"/>
                <a:gd name="connsiteX3" fmla="*/ 0 w 8385464"/>
                <a:gd name="connsiteY3" fmla="*/ 6858000 h 6858000"/>
                <a:gd name="connsiteX4" fmla="*/ 0 w 8385464"/>
                <a:gd name="connsiteY4" fmla="*/ 0 h 6858000"/>
                <a:gd name="connsiteX0" fmla="*/ 0 w 8395855"/>
                <a:gd name="connsiteY0" fmla="*/ 0 h 6858000"/>
                <a:gd name="connsiteX1" fmla="*/ 8385464 w 8395855"/>
                <a:gd name="connsiteY1" fmla="*/ 0 h 6858000"/>
                <a:gd name="connsiteX2" fmla="*/ 8395855 w 8395855"/>
                <a:gd name="connsiteY2" fmla="*/ 3408218 h 6858000"/>
                <a:gd name="connsiteX3" fmla="*/ 8385464 w 8395855"/>
                <a:gd name="connsiteY3" fmla="*/ 6858000 h 6858000"/>
                <a:gd name="connsiteX4" fmla="*/ 0 w 8395855"/>
                <a:gd name="connsiteY4" fmla="*/ 6858000 h 6858000"/>
                <a:gd name="connsiteX5" fmla="*/ 0 w 8395855"/>
                <a:gd name="connsiteY5" fmla="*/ 0 h 6858000"/>
                <a:gd name="connsiteX0" fmla="*/ 0 w 8385468"/>
                <a:gd name="connsiteY0" fmla="*/ 0 h 6858000"/>
                <a:gd name="connsiteX1" fmla="*/ 8385464 w 8385468"/>
                <a:gd name="connsiteY1" fmla="*/ 0 h 6858000"/>
                <a:gd name="connsiteX2" fmla="*/ 6286501 w 8385468"/>
                <a:gd name="connsiteY2" fmla="*/ 3512127 h 6858000"/>
                <a:gd name="connsiteX3" fmla="*/ 8385464 w 8385468"/>
                <a:gd name="connsiteY3" fmla="*/ 6858000 h 6858000"/>
                <a:gd name="connsiteX4" fmla="*/ 0 w 8385468"/>
                <a:gd name="connsiteY4" fmla="*/ 6858000 h 6858000"/>
                <a:gd name="connsiteX5" fmla="*/ 0 w 8385468"/>
                <a:gd name="connsiteY5" fmla="*/ 0 h 6858000"/>
                <a:gd name="connsiteX0" fmla="*/ 0 w 8385470"/>
                <a:gd name="connsiteY0" fmla="*/ 0 h 6858000"/>
                <a:gd name="connsiteX1" fmla="*/ 8385464 w 8385470"/>
                <a:gd name="connsiteY1" fmla="*/ 0 h 6858000"/>
                <a:gd name="connsiteX2" fmla="*/ 6993083 w 8385470"/>
                <a:gd name="connsiteY2" fmla="*/ 3740727 h 6858000"/>
                <a:gd name="connsiteX3" fmla="*/ 8385464 w 8385470"/>
                <a:gd name="connsiteY3" fmla="*/ 6858000 h 6858000"/>
                <a:gd name="connsiteX4" fmla="*/ 0 w 8385470"/>
                <a:gd name="connsiteY4" fmla="*/ 6858000 h 6858000"/>
                <a:gd name="connsiteX5" fmla="*/ 0 w 8385470"/>
                <a:gd name="connsiteY5" fmla="*/ 0 h 6858000"/>
                <a:gd name="connsiteX0" fmla="*/ 0 w 8385474"/>
                <a:gd name="connsiteY0" fmla="*/ 0 h 6858000"/>
                <a:gd name="connsiteX1" fmla="*/ 8385464 w 8385474"/>
                <a:gd name="connsiteY1" fmla="*/ 0 h 6858000"/>
                <a:gd name="connsiteX2" fmla="*/ 6993083 w 8385474"/>
                <a:gd name="connsiteY2" fmla="*/ 3740727 h 6858000"/>
                <a:gd name="connsiteX3" fmla="*/ 8385464 w 8385474"/>
                <a:gd name="connsiteY3" fmla="*/ 6858000 h 6858000"/>
                <a:gd name="connsiteX4" fmla="*/ 0 w 8385474"/>
                <a:gd name="connsiteY4" fmla="*/ 6858000 h 6858000"/>
                <a:gd name="connsiteX5" fmla="*/ 0 w 8385474"/>
                <a:gd name="connsiteY5" fmla="*/ 0 h 6858000"/>
                <a:gd name="connsiteX0" fmla="*/ 0 w 8385470"/>
                <a:gd name="connsiteY0" fmla="*/ 0 h 6858000"/>
                <a:gd name="connsiteX1" fmla="*/ 8385464 w 8385470"/>
                <a:gd name="connsiteY1" fmla="*/ 0 h 6858000"/>
                <a:gd name="connsiteX2" fmla="*/ 6993083 w 8385470"/>
                <a:gd name="connsiteY2" fmla="*/ 3740727 h 6858000"/>
                <a:gd name="connsiteX3" fmla="*/ 8385464 w 8385470"/>
                <a:gd name="connsiteY3" fmla="*/ 6858000 h 6858000"/>
                <a:gd name="connsiteX4" fmla="*/ 0 w 8385470"/>
                <a:gd name="connsiteY4" fmla="*/ 6858000 h 6858000"/>
                <a:gd name="connsiteX5" fmla="*/ 0 w 8385470"/>
                <a:gd name="connsiteY5" fmla="*/ 0 h 6858000"/>
                <a:gd name="connsiteX0" fmla="*/ 0 w 8385464"/>
                <a:gd name="connsiteY0" fmla="*/ 0 h 6858000"/>
                <a:gd name="connsiteX1" fmla="*/ 8385464 w 8385464"/>
                <a:gd name="connsiteY1" fmla="*/ 0 h 6858000"/>
                <a:gd name="connsiteX2" fmla="*/ 6993083 w 8385464"/>
                <a:gd name="connsiteY2" fmla="*/ 3740727 h 6858000"/>
                <a:gd name="connsiteX3" fmla="*/ 8385464 w 8385464"/>
                <a:gd name="connsiteY3" fmla="*/ 6858000 h 6858000"/>
                <a:gd name="connsiteX4" fmla="*/ 0 w 8385464"/>
                <a:gd name="connsiteY4" fmla="*/ 6858000 h 6858000"/>
                <a:gd name="connsiteX5" fmla="*/ 0 w 8385464"/>
                <a:gd name="connsiteY5" fmla="*/ 0 h 6858000"/>
                <a:gd name="connsiteX0" fmla="*/ 0 w 8385464"/>
                <a:gd name="connsiteY0" fmla="*/ 0 h 6858000"/>
                <a:gd name="connsiteX1" fmla="*/ 8385464 w 8385464"/>
                <a:gd name="connsiteY1" fmla="*/ 0 h 6858000"/>
                <a:gd name="connsiteX2" fmla="*/ 6993083 w 8385464"/>
                <a:gd name="connsiteY2" fmla="*/ 3740727 h 6858000"/>
                <a:gd name="connsiteX3" fmla="*/ 8385464 w 8385464"/>
                <a:gd name="connsiteY3" fmla="*/ 6858000 h 6858000"/>
                <a:gd name="connsiteX4" fmla="*/ 0 w 8385464"/>
                <a:gd name="connsiteY4" fmla="*/ 6858000 h 6858000"/>
                <a:gd name="connsiteX5" fmla="*/ 0 w 8385464"/>
                <a:gd name="connsiteY5" fmla="*/ 0 h 6858000"/>
                <a:gd name="connsiteX0" fmla="*/ 0 w 8385464"/>
                <a:gd name="connsiteY0" fmla="*/ 0 h 6858000"/>
                <a:gd name="connsiteX1" fmla="*/ 8385464 w 8385464"/>
                <a:gd name="connsiteY1" fmla="*/ 0 h 6858000"/>
                <a:gd name="connsiteX2" fmla="*/ 6993083 w 8385464"/>
                <a:gd name="connsiteY2" fmla="*/ 3740727 h 6858000"/>
                <a:gd name="connsiteX3" fmla="*/ 8385464 w 8385464"/>
                <a:gd name="connsiteY3" fmla="*/ 6858000 h 6858000"/>
                <a:gd name="connsiteX4" fmla="*/ 0 w 8385464"/>
                <a:gd name="connsiteY4" fmla="*/ 6858000 h 6858000"/>
                <a:gd name="connsiteX5" fmla="*/ 0 w 8385464"/>
                <a:gd name="connsiteY5" fmla="*/ 0 h 6858000"/>
                <a:gd name="connsiteX0" fmla="*/ 0 w 8385464"/>
                <a:gd name="connsiteY0" fmla="*/ 0 h 6858000"/>
                <a:gd name="connsiteX1" fmla="*/ 8385464 w 8385464"/>
                <a:gd name="connsiteY1" fmla="*/ 0 h 6858000"/>
                <a:gd name="connsiteX2" fmla="*/ 6286501 w 8385464"/>
                <a:gd name="connsiteY2" fmla="*/ 4634345 h 6858000"/>
                <a:gd name="connsiteX3" fmla="*/ 8385464 w 8385464"/>
                <a:gd name="connsiteY3" fmla="*/ 6858000 h 6858000"/>
                <a:gd name="connsiteX4" fmla="*/ 0 w 8385464"/>
                <a:gd name="connsiteY4" fmla="*/ 6858000 h 6858000"/>
                <a:gd name="connsiteX5" fmla="*/ 0 w 8385464"/>
                <a:gd name="connsiteY5" fmla="*/ 0 h 6858000"/>
                <a:gd name="connsiteX0" fmla="*/ 0 w 8385464"/>
                <a:gd name="connsiteY0" fmla="*/ 0 h 6889173"/>
                <a:gd name="connsiteX1" fmla="*/ 8385464 w 8385464"/>
                <a:gd name="connsiteY1" fmla="*/ 0 h 6889173"/>
                <a:gd name="connsiteX2" fmla="*/ 6286501 w 8385464"/>
                <a:gd name="connsiteY2" fmla="*/ 4634345 h 6889173"/>
                <a:gd name="connsiteX3" fmla="*/ 6878783 w 8385464"/>
                <a:gd name="connsiteY3" fmla="*/ 6889173 h 6889173"/>
                <a:gd name="connsiteX4" fmla="*/ 0 w 8385464"/>
                <a:gd name="connsiteY4" fmla="*/ 6858000 h 6889173"/>
                <a:gd name="connsiteX5" fmla="*/ 0 w 8385464"/>
                <a:gd name="connsiteY5" fmla="*/ 0 h 6889173"/>
                <a:gd name="connsiteX0" fmla="*/ 0 w 8385464"/>
                <a:gd name="connsiteY0" fmla="*/ 0 h 6889173"/>
                <a:gd name="connsiteX1" fmla="*/ 8385464 w 8385464"/>
                <a:gd name="connsiteY1" fmla="*/ 0 h 6889173"/>
                <a:gd name="connsiteX2" fmla="*/ 6255328 w 8385464"/>
                <a:gd name="connsiteY2" fmla="*/ 5029200 h 6889173"/>
                <a:gd name="connsiteX3" fmla="*/ 6878783 w 8385464"/>
                <a:gd name="connsiteY3" fmla="*/ 6889173 h 6889173"/>
                <a:gd name="connsiteX4" fmla="*/ 0 w 8385464"/>
                <a:gd name="connsiteY4" fmla="*/ 6858000 h 6889173"/>
                <a:gd name="connsiteX5" fmla="*/ 0 w 8385464"/>
                <a:gd name="connsiteY5" fmla="*/ 0 h 6889173"/>
                <a:gd name="connsiteX0" fmla="*/ 0 w 8385464"/>
                <a:gd name="connsiteY0" fmla="*/ 0 h 6889173"/>
                <a:gd name="connsiteX1" fmla="*/ 8385464 w 8385464"/>
                <a:gd name="connsiteY1" fmla="*/ 0 h 6889173"/>
                <a:gd name="connsiteX2" fmla="*/ 6255328 w 8385464"/>
                <a:gd name="connsiteY2" fmla="*/ 5029200 h 6889173"/>
                <a:gd name="connsiteX3" fmla="*/ 6878783 w 8385464"/>
                <a:gd name="connsiteY3" fmla="*/ 6889173 h 6889173"/>
                <a:gd name="connsiteX4" fmla="*/ 0 w 8385464"/>
                <a:gd name="connsiteY4" fmla="*/ 6858000 h 6889173"/>
                <a:gd name="connsiteX5" fmla="*/ 0 w 8385464"/>
                <a:gd name="connsiteY5" fmla="*/ 0 h 6889173"/>
                <a:gd name="connsiteX0" fmla="*/ 0 w 8385464"/>
                <a:gd name="connsiteY0" fmla="*/ 0 h 6889173"/>
                <a:gd name="connsiteX1" fmla="*/ 8385464 w 8385464"/>
                <a:gd name="connsiteY1" fmla="*/ 0 h 6889173"/>
                <a:gd name="connsiteX2" fmla="*/ 6255328 w 8385464"/>
                <a:gd name="connsiteY2" fmla="*/ 5029200 h 6889173"/>
                <a:gd name="connsiteX3" fmla="*/ 6878783 w 8385464"/>
                <a:gd name="connsiteY3" fmla="*/ 6889173 h 6889173"/>
                <a:gd name="connsiteX4" fmla="*/ 0 w 8385464"/>
                <a:gd name="connsiteY4" fmla="*/ 6858000 h 6889173"/>
                <a:gd name="connsiteX5" fmla="*/ 0 w 8385464"/>
                <a:gd name="connsiteY5" fmla="*/ 0 h 6889173"/>
                <a:gd name="connsiteX0" fmla="*/ 0 w 8385464"/>
                <a:gd name="connsiteY0" fmla="*/ 0 h 6889173"/>
                <a:gd name="connsiteX1" fmla="*/ 8385464 w 8385464"/>
                <a:gd name="connsiteY1" fmla="*/ 0 h 6889173"/>
                <a:gd name="connsiteX2" fmla="*/ 6255328 w 8385464"/>
                <a:gd name="connsiteY2" fmla="*/ 5029200 h 6889173"/>
                <a:gd name="connsiteX3" fmla="*/ 6878783 w 8385464"/>
                <a:gd name="connsiteY3" fmla="*/ 6889173 h 6889173"/>
                <a:gd name="connsiteX4" fmla="*/ 0 w 8385464"/>
                <a:gd name="connsiteY4" fmla="*/ 6858000 h 6889173"/>
                <a:gd name="connsiteX5" fmla="*/ 0 w 8385464"/>
                <a:gd name="connsiteY5" fmla="*/ 0 h 6889173"/>
                <a:gd name="connsiteX0" fmla="*/ 0 w 11367745"/>
                <a:gd name="connsiteY0" fmla="*/ 12032 h 6901205"/>
                <a:gd name="connsiteX1" fmla="*/ 11367745 w 11367745"/>
                <a:gd name="connsiteY1" fmla="*/ 0 h 6901205"/>
                <a:gd name="connsiteX2" fmla="*/ 6255328 w 11367745"/>
                <a:gd name="connsiteY2" fmla="*/ 5041232 h 6901205"/>
                <a:gd name="connsiteX3" fmla="*/ 6878783 w 11367745"/>
                <a:gd name="connsiteY3" fmla="*/ 6901205 h 6901205"/>
                <a:gd name="connsiteX4" fmla="*/ 0 w 11367745"/>
                <a:gd name="connsiteY4" fmla="*/ 6870032 h 6901205"/>
                <a:gd name="connsiteX5" fmla="*/ 0 w 11367745"/>
                <a:gd name="connsiteY5" fmla="*/ 12032 h 6901205"/>
                <a:gd name="connsiteX0" fmla="*/ 0 w 11367745"/>
                <a:gd name="connsiteY0" fmla="*/ 12032 h 6901205"/>
                <a:gd name="connsiteX1" fmla="*/ 11367745 w 11367745"/>
                <a:gd name="connsiteY1" fmla="*/ 0 h 6901205"/>
                <a:gd name="connsiteX2" fmla="*/ 6255328 w 11367745"/>
                <a:gd name="connsiteY2" fmla="*/ 5041232 h 6901205"/>
                <a:gd name="connsiteX3" fmla="*/ 6878783 w 11367745"/>
                <a:gd name="connsiteY3" fmla="*/ 6901205 h 6901205"/>
                <a:gd name="connsiteX4" fmla="*/ 0 w 11367745"/>
                <a:gd name="connsiteY4" fmla="*/ 6870032 h 6901205"/>
                <a:gd name="connsiteX5" fmla="*/ 0 w 11367745"/>
                <a:gd name="connsiteY5" fmla="*/ 12032 h 6901205"/>
                <a:gd name="connsiteX0" fmla="*/ 0 w 11367745"/>
                <a:gd name="connsiteY0" fmla="*/ 12032 h 6901205"/>
                <a:gd name="connsiteX1" fmla="*/ 11367745 w 11367745"/>
                <a:gd name="connsiteY1" fmla="*/ 0 h 6901205"/>
                <a:gd name="connsiteX2" fmla="*/ 6255328 w 11367745"/>
                <a:gd name="connsiteY2" fmla="*/ 5041232 h 6901205"/>
                <a:gd name="connsiteX3" fmla="*/ 6878783 w 11367745"/>
                <a:gd name="connsiteY3" fmla="*/ 6901205 h 6901205"/>
                <a:gd name="connsiteX4" fmla="*/ 0 w 11367745"/>
                <a:gd name="connsiteY4" fmla="*/ 6870032 h 6901205"/>
                <a:gd name="connsiteX5" fmla="*/ 0 w 11367745"/>
                <a:gd name="connsiteY5" fmla="*/ 12032 h 6901205"/>
                <a:gd name="connsiteX0" fmla="*/ 0 w 11367745"/>
                <a:gd name="connsiteY0" fmla="*/ 12032 h 6901205"/>
                <a:gd name="connsiteX1" fmla="*/ 11367745 w 11367745"/>
                <a:gd name="connsiteY1" fmla="*/ 0 h 6901205"/>
                <a:gd name="connsiteX2" fmla="*/ 6255328 w 11367745"/>
                <a:gd name="connsiteY2" fmla="*/ 5041232 h 6901205"/>
                <a:gd name="connsiteX3" fmla="*/ 6878783 w 11367745"/>
                <a:gd name="connsiteY3" fmla="*/ 6901205 h 6901205"/>
                <a:gd name="connsiteX4" fmla="*/ 0 w 11367745"/>
                <a:gd name="connsiteY4" fmla="*/ 6870032 h 6901205"/>
                <a:gd name="connsiteX5" fmla="*/ 0 w 11367745"/>
                <a:gd name="connsiteY5" fmla="*/ 12032 h 6901205"/>
                <a:gd name="connsiteX0" fmla="*/ 0 w 11367745"/>
                <a:gd name="connsiteY0" fmla="*/ 12032 h 6901205"/>
                <a:gd name="connsiteX1" fmla="*/ 11367745 w 11367745"/>
                <a:gd name="connsiteY1" fmla="*/ 0 h 6901205"/>
                <a:gd name="connsiteX2" fmla="*/ 6255328 w 11367745"/>
                <a:gd name="connsiteY2" fmla="*/ 5041232 h 6901205"/>
                <a:gd name="connsiteX3" fmla="*/ 6843698 w 11367745"/>
                <a:gd name="connsiteY3" fmla="*/ 6901205 h 6901205"/>
                <a:gd name="connsiteX4" fmla="*/ 0 w 11367745"/>
                <a:gd name="connsiteY4" fmla="*/ 6870032 h 6901205"/>
                <a:gd name="connsiteX5" fmla="*/ 0 w 11367745"/>
                <a:gd name="connsiteY5" fmla="*/ 12032 h 6901205"/>
                <a:gd name="connsiteX0" fmla="*/ 0 w 11367745"/>
                <a:gd name="connsiteY0" fmla="*/ 12032 h 6877142"/>
                <a:gd name="connsiteX1" fmla="*/ 11367745 w 11367745"/>
                <a:gd name="connsiteY1" fmla="*/ 0 h 6877142"/>
                <a:gd name="connsiteX2" fmla="*/ 6255328 w 11367745"/>
                <a:gd name="connsiteY2" fmla="*/ 5041232 h 6877142"/>
                <a:gd name="connsiteX3" fmla="*/ 6808614 w 11367745"/>
                <a:gd name="connsiteY3" fmla="*/ 6877142 h 6877142"/>
                <a:gd name="connsiteX4" fmla="*/ 0 w 11367745"/>
                <a:gd name="connsiteY4" fmla="*/ 6870032 h 6877142"/>
                <a:gd name="connsiteX5" fmla="*/ 0 w 11367745"/>
                <a:gd name="connsiteY5" fmla="*/ 12032 h 6877142"/>
                <a:gd name="connsiteX0" fmla="*/ 0 w 11367745"/>
                <a:gd name="connsiteY0" fmla="*/ 12032 h 6877142"/>
                <a:gd name="connsiteX1" fmla="*/ 11367745 w 11367745"/>
                <a:gd name="connsiteY1" fmla="*/ 0 h 6877142"/>
                <a:gd name="connsiteX2" fmla="*/ 4933499 w 11367745"/>
                <a:gd name="connsiteY2" fmla="*/ 4207042 h 6877142"/>
                <a:gd name="connsiteX3" fmla="*/ 6808614 w 11367745"/>
                <a:gd name="connsiteY3" fmla="*/ 6877142 h 6877142"/>
                <a:gd name="connsiteX4" fmla="*/ 0 w 11367745"/>
                <a:gd name="connsiteY4" fmla="*/ 6870032 h 6877142"/>
                <a:gd name="connsiteX5" fmla="*/ 0 w 11367745"/>
                <a:gd name="connsiteY5" fmla="*/ 12032 h 6877142"/>
                <a:gd name="connsiteX0" fmla="*/ 0 w 11367745"/>
                <a:gd name="connsiteY0" fmla="*/ 12032 h 6877142"/>
                <a:gd name="connsiteX1" fmla="*/ 11367745 w 11367745"/>
                <a:gd name="connsiteY1" fmla="*/ 0 h 6877142"/>
                <a:gd name="connsiteX2" fmla="*/ 4933499 w 11367745"/>
                <a:gd name="connsiteY2" fmla="*/ 4207042 h 6877142"/>
                <a:gd name="connsiteX3" fmla="*/ 5354604 w 11367745"/>
                <a:gd name="connsiteY3" fmla="*/ 6877142 h 6877142"/>
                <a:gd name="connsiteX4" fmla="*/ 0 w 11367745"/>
                <a:gd name="connsiteY4" fmla="*/ 6870032 h 6877142"/>
                <a:gd name="connsiteX5" fmla="*/ 0 w 11367745"/>
                <a:gd name="connsiteY5" fmla="*/ 12032 h 6877142"/>
                <a:gd name="connsiteX0" fmla="*/ 0 w 11367745"/>
                <a:gd name="connsiteY0" fmla="*/ 12032 h 6877142"/>
                <a:gd name="connsiteX1" fmla="*/ 11367745 w 11367745"/>
                <a:gd name="connsiteY1" fmla="*/ 0 h 6877142"/>
                <a:gd name="connsiteX2" fmla="*/ 4933499 w 11367745"/>
                <a:gd name="connsiteY2" fmla="*/ 4207042 h 6877142"/>
                <a:gd name="connsiteX3" fmla="*/ 5354604 w 11367745"/>
                <a:gd name="connsiteY3" fmla="*/ 6877142 h 6877142"/>
                <a:gd name="connsiteX4" fmla="*/ 0 w 11367745"/>
                <a:gd name="connsiteY4" fmla="*/ 6870032 h 6877142"/>
                <a:gd name="connsiteX5" fmla="*/ 0 w 11367745"/>
                <a:gd name="connsiteY5" fmla="*/ 12032 h 6877142"/>
                <a:gd name="connsiteX0" fmla="*/ 0 w 11367745"/>
                <a:gd name="connsiteY0" fmla="*/ 12032 h 6877142"/>
                <a:gd name="connsiteX1" fmla="*/ 11367745 w 11367745"/>
                <a:gd name="connsiteY1" fmla="*/ 0 h 6877142"/>
                <a:gd name="connsiteX2" fmla="*/ 3507531 w 11367745"/>
                <a:gd name="connsiteY2" fmla="*/ 4207042 h 6877142"/>
                <a:gd name="connsiteX3" fmla="*/ 5354604 w 11367745"/>
                <a:gd name="connsiteY3" fmla="*/ 6877142 h 6877142"/>
                <a:gd name="connsiteX4" fmla="*/ 0 w 11367745"/>
                <a:gd name="connsiteY4" fmla="*/ 6870032 h 6877142"/>
                <a:gd name="connsiteX5" fmla="*/ 0 w 11367745"/>
                <a:gd name="connsiteY5" fmla="*/ 12032 h 6877142"/>
                <a:gd name="connsiteX0" fmla="*/ 0 w 11367745"/>
                <a:gd name="connsiteY0" fmla="*/ 12032 h 6870032"/>
                <a:gd name="connsiteX1" fmla="*/ 11367745 w 11367745"/>
                <a:gd name="connsiteY1" fmla="*/ 0 h 6870032"/>
                <a:gd name="connsiteX2" fmla="*/ 3507531 w 11367745"/>
                <a:gd name="connsiteY2" fmla="*/ 4207042 h 6870032"/>
                <a:gd name="connsiteX3" fmla="*/ 3976167 w 11367745"/>
                <a:gd name="connsiteY3" fmla="*/ 6839042 h 6870032"/>
                <a:gd name="connsiteX4" fmla="*/ 0 w 11367745"/>
                <a:gd name="connsiteY4" fmla="*/ 6870032 h 6870032"/>
                <a:gd name="connsiteX5" fmla="*/ 0 w 11367745"/>
                <a:gd name="connsiteY5" fmla="*/ 12032 h 68700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367745" h="6870032">
                  <a:moveTo>
                    <a:pt x="0" y="12032"/>
                  </a:moveTo>
                  <a:lnTo>
                    <a:pt x="11367745" y="0"/>
                  </a:lnTo>
                  <a:cubicBezTo>
                    <a:pt x="9493718" y="1572491"/>
                    <a:pt x="4203722" y="2709657"/>
                    <a:pt x="3507531" y="4207042"/>
                  </a:cubicBezTo>
                  <a:cubicBezTo>
                    <a:pt x="3950876" y="5523223"/>
                    <a:pt x="3449696" y="5387779"/>
                    <a:pt x="3976167" y="6839042"/>
                  </a:cubicBezTo>
                  <a:lnTo>
                    <a:pt x="0" y="6870032"/>
                  </a:lnTo>
                  <a:lnTo>
                    <a:pt x="0" y="12032"/>
                  </a:lnTo>
                  <a:close/>
                </a:path>
              </a:pathLst>
            </a:custGeom>
            <a:solidFill>
              <a:schemeClr val="tx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6" name="Right Triangle 3">
              <a:extLst>
                <a:ext uri="{FF2B5EF4-FFF2-40B4-BE49-F238E27FC236}">
                  <a16:creationId xmlns:a16="http://schemas.microsoft.com/office/drawing/2014/main" id="{56990D95-B6C6-4723-82D2-F9651330B7FE}"/>
                </a:ext>
              </a:extLst>
            </p:cNvPr>
            <p:cNvSpPr/>
            <p:nvPr/>
          </p:nvSpPr>
          <p:spPr>
            <a:xfrm flipH="1">
              <a:off x="-6515" y="4242391"/>
              <a:ext cx="712079" cy="2616194"/>
            </a:xfrm>
            <a:custGeom>
              <a:avLst/>
              <a:gdLst>
                <a:gd name="connsiteX0" fmla="*/ 0 w 1155025"/>
                <a:gd name="connsiteY0" fmla="*/ 2849526 h 2849526"/>
                <a:gd name="connsiteX1" fmla="*/ 0 w 1155025"/>
                <a:gd name="connsiteY1" fmla="*/ 0 h 2849526"/>
                <a:gd name="connsiteX2" fmla="*/ 1155025 w 1155025"/>
                <a:gd name="connsiteY2" fmla="*/ 2849526 h 2849526"/>
                <a:gd name="connsiteX3" fmla="*/ 0 w 1155025"/>
                <a:gd name="connsiteY3" fmla="*/ 2849526 h 2849526"/>
                <a:gd name="connsiteX0" fmla="*/ 606055 w 1761080"/>
                <a:gd name="connsiteY0" fmla="*/ 2870791 h 2870791"/>
                <a:gd name="connsiteX1" fmla="*/ 0 w 1761080"/>
                <a:gd name="connsiteY1" fmla="*/ 0 h 2870791"/>
                <a:gd name="connsiteX2" fmla="*/ 1761080 w 1761080"/>
                <a:gd name="connsiteY2" fmla="*/ 2870791 h 2870791"/>
                <a:gd name="connsiteX3" fmla="*/ 606055 w 1761080"/>
                <a:gd name="connsiteY3" fmla="*/ 2870791 h 2870791"/>
                <a:gd name="connsiteX0" fmla="*/ 350874 w 1505899"/>
                <a:gd name="connsiteY0" fmla="*/ 2626242 h 2626242"/>
                <a:gd name="connsiteX1" fmla="*/ 0 w 1505899"/>
                <a:gd name="connsiteY1" fmla="*/ 0 h 2626242"/>
                <a:gd name="connsiteX2" fmla="*/ 1505899 w 1505899"/>
                <a:gd name="connsiteY2" fmla="*/ 2626242 h 2626242"/>
                <a:gd name="connsiteX3" fmla="*/ 350874 w 1505899"/>
                <a:gd name="connsiteY3" fmla="*/ 2626242 h 2626242"/>
                <a:gd name="connsiteX0" fmla="*/ 350874 w 712079"/>
                <a:gd name="connsiteY0" fmla="*/ 2626242 h 2626242"/>
                <a:gd name="connsiteX1" fmla="*/ 0 w 712079"/>
                <a:gd name="connsiteY1" fmla="*/ 0 h 2626242"/>
                <a:gd name="connsiteX2" fmla="*/ 712079 w 712079"/>
                <a:gd name="connsiteY2" fmla="*/ 1279763 h 2626242"/>
                <a:gd name="connsiteX3" fmla="*/ 350874 w 712079"/>
                <a:gd name="connsiteY3" fmla="*/ 2626242 h 2626242"/>
                <a:gd name="connsiteX0" fmla="*/ 692518 w 712079"/>
                <a:gd name="connsiteY0" fmla="*/ 2626242 h 2626242"/>
                <a:gd name="connsiteX1" fmla="*/ 0 w 712079"/>
                <a:gd name="connsiteY1" fmla="*/ 0 h 2626242"/>
                <a:gd name="connsiteX2" fmla="*/ 712079 w 712079"/>
                <a:gd name="connsiteY2" fmla="*/ 1279763 h 2626242"/>
                <a:gd name="connsiteX3" fmla="*/ 692518 w 712079"/>
                <a:gd name="connsiteY3" fmla="*/ 2626242 h 2626242"/>
                <a:gd name="connsiteX0" fmla="*/ 692518 w 712079"/>
                <a:gd name="connsiteY0" fmla="*/ 2626242 h 2626242"/>
                <a:gd name="connsiteX1" fmla="*/ 0 w 712079"/>
                <a:gd name="connsiteY1" fmla="*/ 0 h 2626242"/>
                <a:gd name="connsiteX2" fmla="*/ 712079 w 712079"/>
                <a:gd name="connsiteY2" fmla="*/ 1264691 h 2626242"/>
                <a:gd name="connsiteX3" fmla="*/ 692518 w 712079"/>
                <a:gd name="connsiteY3" fmla="*/ 2626242 h 2626242"/>
                <a:gd name="connsiteX0" fmla="*/ 702567 w 712079"/>
                <a:gd name="connsiteY0" fmla="*/ 2616194 h 2616194"/>
                <a:gd name="connsiteX1" fmla="*/ 0 w 712079"/>
                <a:gd name="connsiteY1" fmla="*/ 0 h 2616194"/>
                <a:gd name="connsiteX2" fmla="*/ 712079 w 712079"/>
                <a:gd name="connsiteY2" fmla="*/ 1264691 h 2616194"/>
                <a:gd name="connsiteX3" fmla="*/ 702567 w 712079"/>
                <a:gd name="connsiteY3" fmla="*/ 2616194 h 2616194"/>
                <a:gd name="connsiteX0" fmla="*/ 702567 w 712079"/>
                <a:gd name="connsiteY0" fmla="*/ 2616194 h 2616194"/>
                <a:gd name="connsiteX1" fmla="*/ 605080 w 712079"/>
                <a:gd name="connsiteY1" fmla="*/ 2258893 h 2616194"/>
                <a:gd name="connsiteX2" fmla="*/ 0 w 712079"/>
                <a:gd name="connsiteY2" fmla="*/ 0 h 2616194"/>
                <a:gd name="connsiteX3" fmla="*/ 712079 w 712079"/>
                <a:gd name="connsiteY3" fmla="*/ 1264691 h 2616194"/>
                <a:gd name="connsiteX4" fmla="*/ 702567 w 712079"/>
                <a:gd name="connsiteY4" fmla="*/ 2616194 h 2616194"/>
                <a:gd name="connsiteX0" fmla="*/ 702567 w 712079"/>
                <a:gd name="connsiteY0" fmla="*/ 2616194 h 2616194"/>
                <a:gd name="connsiteX1" fmla="*/ 665371 w 712079"/>
                <a:gd name="connsiteY1" fmla="*/ 2615609 h 2616194"/>
                <a:gd name="connsiteX2" fmla="*/ 0 w 712079"/>
                <a:gd name="connsiteY2" fmla="*/ 0 h 2616194"/>
                <a:gd name="connsiteX3" fmla="*/ 712079 w 712079"/>
                <a:gd name="connsiteY3" fmla="*/ 1264691 h 2616194"/>
                <a:gd name="connsiteX4" fmla="*/ 702567 w 712079"/>
                <a:gd name="connsiteY4" fmla="*/ 2616194 h 26161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2079" h="2616194">
                  <a:moveTo>
                    <a:pt x="702567" y="2616194"/>
                  </a:moveTo>
                  <a:lnTo>
                    <a:pt x="665371" y="2615609"/>
                  </a:lnTo>
                  <a:lnTo>
                    <a:pt x="0" y="0"/>
                  </a:lnTo>
                  <a:lnTo>
                    <a:pt x="712079" y="1264691"/>
                  </a:lnTo>
                  <a:cubicBezTo>
                    <a:pt x="708908" y="1715192"/>
                    <a:pt x="705738" y="2165693"/>
                    <a:pt x="702567" y="2616194"/>
                  </a:cubicBezTo>
                  <a:close/>
                </a:path>
              </a:pathLst>
            </a:custGeom>
            <a:gradFill>
              <a:gsLst>
                <a:gs pos="2000">
                  <a:srgbClr val="62B53F"/>
                </a:gs>
                <a:gs pos="52000">
                  <a:srgbClr val="529533"/>
                </a:gs>
              </a:gsLst>
              <a:lin ang="144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7" name="Right Triangle 3">
              <a:extLst>
                <a:ext uri="{FF2B5EF4-FFF2-40B4-BE49-F238E27FC236}">
                  <a16:creationId xmlns:a16="http://schemas.microsoft.com/office/drawing/2014/main" id="{EC9B2ECA-C14A-4E87-A3F3-80BB4481D7A8}"/>
                </a:ext>
              </a:extLst>
            </p:cNvPr>
            <p:cNvSpPr/>
            <p:nvPr/>
          </p:nvSpPr>
          <p:spPr>
            <a:xfrm>
              <a:off x="16636" y="3818487"/>
              <a:ext cx="963639" cy="3051545"/>
            </a:xfrm>
            <a:custGeom>
              <a:avLst/>
              <a:gdLst>
                <a:gd name="connsiteX0" fmla="*/ 0 w 1155025"/>
                <a:gd name="connsiteY0" fmla="*/ 2849526 h 2849526"/>
                <a:gd name="connsiteX1" fmla="*/ 0 w 1155025"/>
                <a:gd name="connsiteY1" fmla="*/ 0 h 2849526"/>
                <a:gd name="connsiteX2" fmla="*/ 1155025 w 1155025"/>
                <a:gd name="connsiteY2" fmla="*/ 2849526 h 2849526"/>
                <a:gd name="connsiteX3" fmla="*/ 0 w 1155025"/>
                <a:gd name="connsiteY3" fmla="*/ 2849526 h 2849526"/>
                <a:gd name="connsiteX0" fmla="*/ 606055 w 1761080"/>
                <a:gd name="connsiteY0" fmla="*/ 2870791 h 2870791"/>
                <a:gd name="connsiteX1" fmla="*/ 0 w 1761080"/>
                <a:gd name="connsiteY1" fmla="*/ 0 h 2870791"/>
                <a:gd name="connsiteX2" fmla="*/ 1761080 w 1761080"/>
                <a:gd name="connsiteY2" fmla="*/ 2870791 h 2870791"/>
                <a:gd name="connsiteX3" fmla="*/ 606055 w 1761080"/>
                <a:gd name="connsiteY3" fmla="*/ 2870791 h 2870791"/>
                <a:gd name="connsiteX0" fmla="*/ 350874 w 1505899"/>
                <a:gd name="connsiteY0" fmla="*/ 2626242 h 2626242"/>
                <a:gd name="connsiteX1" fmla="*/ 0 w 1505899"/>
                <a:gd name="connsiteY1" fmla="*/ 0 h 2626242"/>
                <a:gd name="connsiteX2" fmla="*/ 1505899 w 1505899"/>
                <a:gd name="connsiteY2" fmla="*/ 2626242 h 2626242"/>
                <a:gd name="connsiteX3" fmla="*/ 350874 w 1505899"/>
                <a:gd name="connsiteY3" fmla="*/ 2626242 h 2626242"/>
                <a:gd name="connsiteX0" fmla="*/ 0 w 1155025"/>
                <a:gd name="connsiteY0" fmla="*/ 3051545 h 3051545"/>
                <a:gd name="connsiteX1" fmla="*/ 733647 w 1155025"/>
                <a:gd name="connsiteY1" fmla="*/ 0 h 3051545"/>
                <a:gd name="connsiteX2" fmla="*/ 1155025 w 1155025"/>
                <a:gd name="connsiteY2" fmla="*/ 3051545 h 3051545"/>
                <a:gd name="connsiteX3" fmla="*/ 0 w 1155025"/>
                <a:gd name="connsiteY3" fmla="*/ 3051545 h 3051545"/>
                <a:gd name="connsiteX0" fmla="*/ 0 w 963639"/>
                <a:gd name="connsiteY0" fmla="*/ 3051545 h 3051545"/>
                <a:gd name="connsiteX1" fmla="*/ 733647 w 963639"/>
                <a:gd name="connsiteY1" fmla="*/ 0 h 3051545"/>
                <a:gd name="connsiteX2" fmla="*/ 963639 w 963639"/>
                <a:gd name="connsiteY2" fmla="*/ 3051545 h 3051545"/>
                <a:gd name="connsiteX3" fmla="*/ 0 w 963639"/>
                <a:gd name="connsiteY3" fmla="*/ 3051545 h 3051545"/>
                <a:gd name="connsiteX0" fmla="*/ 0 w 963639"/>
                <a:gd name="connsiteY0" fmla="*/ 3051545 h 3051545"/>
                <a:gd name="connsiteX1" fmla="*/ 754912 w 963639"/>
                <a:gd name="connsiteY1" fmla="*/ 0 h 3051545"/>
                <a:gd name="connsiteX2" fmla="*/ 963639 w 963639"/>
                <a:gd name="connsiteY2" fmla="*/ 3051545 h 3051545"/>
                <a:gd name="connsiteX3" fmla="*/ 0 w 963639"/>
                <a:gd name="connsiteY3" fmla="*/ 3051545 h 30515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63639" h="3051545">
                  <a:moveTo>
                    <a:pt x="0" y="3051545"/>
                  </a:moveTo>
                  <a:lnTo>
                    <a:pt x="754912" y="0"/>
                  </a:lnTo>
                  <a:lnTo>
                    <a:pt x="963639" y="3051545"/>
                  </a:lnTo>
                  <a:lnTo>
                    <a:pt x="0" y="3051545"/>
                  </a:lnTo>
                  <a:close/>
                </a:path>
              </a:pathLst>
            </a:custGeom>
            <a:gradFill>
              <a:gsLst>
                <a:gs pos="27000">
                  <a:srgbClr val="5EAC3E"/>
                </a:gs>
                <a:gs pos="64000">
                  <a:srgbClr val="67BD42"/>
                </a:gs>
              </a:gsLst>
              <a:lin ang="78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24" name="Right Triangle 3">
              <a:extLst>
                <a:ext uri="{FF2B5EF4-FFF2-40B4-BE49-F238E27FC236}">
                  <a16:creationId xmlns:a16="http://schemas.microsoft.com/office/drawing/2014/main" id="{9AFA1F9D-E0DB-427A-8D67-2A3C457C3A94}"/>
                </a:ext>
              </a:extLst>
            </p:cNvPr>
            <p:cNvSpPr/>
            <p:nvPr/>
          </p:nvSpPr>
          <p:spPr>
            <a:xfrm rot="12173926">
              <a:off x="1003907" y="-465745"/>
              <a:ext cx="1014731" cy="6395388"/>
            </a:xfrm>
            <a:custGeom>
              <a:avLst/>
              <a:gdLst>
                <a:gd name="connsiteX0" fmla="*/ 0 w 1155025"/>
                <a:gd name="connsiteY0" fmla="*/ 2849526 h 2849526"/>
                <a:gd name="connsiteX1" fmla="*/ 0 w 1155025"/>
                <a:gd name="connsiteY1" fmla="*/ 0 h 2849526"/>
                <a:gd name="connsiteX2" fmla="*/ 1155025 w 1155025"/>
                <a:gd name="connsiteY2" fmla="*/ 2849526 h 2849526"/>
                <a:gd name="connsiteX3" fmla="*/ 0 w 1155025"/>
                <a:gd name="connsiteY3" fmla="*/ 2849526 h 2849526"/>
                <a:gd name="connsiteX0" fmla="*/ 606055 w 1761080"/>
                <a:gd name="connsiteY0" fmla="*/ 2870791 h 2870791"/>
                <a:gd name="connsiteX1" fmla="*/ 0 w 1761080"/>
                <a:gd name="connsiteY1" fmla="*/ 0 h 2870791"/>
                <a:gd name="connsiteX2" fmla="*/ 1761080 w 1761080"/>
                <a:gd name="connsiteY2" fmla="*/ 2870791 h 2870791"/>
                <a:gd name="connsiteX3" fmla="*/ 606055 w 1761080"/>
                <a:gd name="connsiteY3" fmla="*/ 2870791 h 2870791"/>
                <a:gd name="connsiteX0" fmla="*/ 350874 w 1505899"/>
                <a:gd name="connsiteY0" fmla="*/ 2626242 h 2626242"/>
                <a:gd name="connsiteX1" fmla="*/ 0 w 1505899"/>
                <a:gd name="connsiteY1" fmla="*/ 0 h 2626242"/>
                <a:gd name="connsiteX2" fmla="*/ 1505899 w 1505899"/>
                <a:gd name="connsiteY2" fmla="*/ 2626242 h 2626242"/>
                <a:gd name="connsiteX3" fmla="*/ 350874 w 1505899"/>
                <a:gd name="connsiteY3" fmla="*/ 2626242 h 2626242"/>
                <a:gd name="connsiteX0" fmla="*/ 0 w 1155025"/>
                <a:gd name="connsiteY0" fmla="*/ 3051545 h 3051545"/>
                <a:gd name="connsiteX1" fmla="*/ 733647 w 1155025"/>
                <a:gd name="connsiteY1" fmla="*/ 0 h 3051545"/>
                <a:gd name="connsiteX2" fmla="*/ 1155025 w 1155025"/>
                <a:gd name="connsiteY2" fmla="*/ 3051545 h 3051545"/>
                <a:gd name="connsiteX3" fmla="*/ 0 w 1155025"/>
                <a:gd name="connsiteY3" fmla="*/ 3051545 h 3051545"/>
                <a:gd name="connsiteX0" fmla="*/ 0 w 963639"/>
                <a:gd name="connsiteY0" fmla="*/ 3051545 h 3051545"/>
                <a:gd name="connsiteX1" fmla="*/ 733647 w 963639"/>
                <a:gd name="connsiteY1" fmla="*/ 0 h 3051545"/>
                <a:gd name="connsiteX2" fmla="*/ 963639 w 963639"/>
                <a:gd name="connsiteY2" fmla="*/ 3051545 h 3051545"/>
                <a:gd name="connsiteX3" fmla="*/ 0 w 963639"/>
                <a:gd name="connsiteY3" fmla="*/ 3051545 h 3051545"/>
                <a:gd name="connsiteX0" fmla="*/ 0 w 963639"/>
                <a:gd name="connsiteY0" fmla="*/ 3051545 h 3051545"/>
                <a:gd name="connsiteX1" fmla="*/ 754912 w 963639"/>
                <a:gd name="connsiteY1" fmla="*/ 0 h 3051545"/>
                <a:gd name="connsiteX2" fmla="*/ 963639 w 963639"/>
                <a:gd name="connsiteY2" fmla="*/ 3051545 h 3051545"/>
                <a:gd name="connsiteX3" fmla="*/ 0 w 963639"/>
                <a:gd name="connsiteY3" fmla="*/ 3051545 h 3051545"/>
                <a:gd name="connsiteX0" fmla="*/ 0 w 1014731"/>
                <a:gd name="connsiteY0" fmla="*/ 3477101 h 3477101"/>
                <a:gd name="connsiteX1" fmla="*/ 806004 w 1014731"/>
                <a:gd name="connsiteY1" fmla="*/ 0 h 3477101"/>
                <a:gd name="connsiteX2" fmla="*/ 1014731 w 1014731"/>
                <a:gd name="connsiteY2" fmla="*/ 3051545 h 3477101"/>
                <a:gd name="connsiteX3" fmla="*/ 0 w 1014731"/>
                <a:gd name="connsiteY3" fmla="*/ 3477101 h 3477101"/>
                <a:gd name="connsiteX0" fmla="*/ 0 w 1014731"/>
                <a:gd name="connsiteY0" fmla="*/ 5974885 h 5974885"/>
                <a:gd name="connsiteX1" fmla="*/ 789755 w 1014731"/>
                <a:gd name="connsiteY1" fmla="*/ 0 h 5974885"/>
                <a:gd name="connsiteX2" fmla="*/ 1014731 w 1014731"/>
                <a:gd name="connsiteY2" fmla="*/ 5549329 h 5974885"/>
                <a:gd name="connsiteX3" fmla="*/ 0 w 1014731"/>
                <a:gd name="connsiteY3" fmla="*/ 5974885 h 5974885"/>
                <a:gd name="connsiteX0" fmla="*/ 0 w 1014731"/>
                <a:gd name="connsiteY0" fmla="*/ 7343100 h 7343100"/>
                <a:gd name="connsiteX1" fmla="*/ 978069 w 1014731"/>
                <a:gd name="connsiteY1" fmla="*/ 0 h 7343100"/>
                <a:gd name="connsiteX2" fmla="*/ 1014731 w 1014731"/>
                <a:gd name="connsiteY2" fmla="*/ 6917544 h 7343100"/>
                <a:gd name="connsiteX3" fmla="*/ 0 w 1014731"/>
                <a:gd name="connsiteY3" fmla="*/ 7343100 h 7343100"/>
                <a:gd name="connsiteX0" fmla="*/ 0 w 1014731"/>
                <a:gd name="connsiteY0" fmla="*/ 7503364 h 7503364"/>
                <a:gd name="connsiteX1" fmla="*/ 945205 w 1014731"/>
                <a:gd name="connsiteY1" fmla="*/ 0 h 7503364"/>
                <a:gd name="connsiteX2" fmla="*/ 1014731 w 1014731"/>
                <a:gd name="connsiteY2" fmla="*/ 7077808 h 7503364"/>
                <a:gd name="connsiteX3" fmla="*/ 0 w 1014731"/>
                <a:gd name="connsiteY3" fmla="*/ 7503364 h 7503364"/>
                <a:gd name="connsiteX0" fmla="*/ 0 w 1014731"/>
                <a:gd name="connsiteY0" fmla="*/ 7503364 h 7503364"/>
                <a:gd name="connsiteX1" fmla="*/ 762176 w 1014731"/>
                <a:gd name="connsiteY1" fmla="*/ 1360664 h 7503364"/>
                <a:gd name="connsiteX2" fmla="*/ 945205 w 1014731"/>
                <a:gd name="connsiteY2" fmla="*/ 0 h 7503364"/>
                <a:gd name="connsiteX3" fmla="*/ 1014731 w 1014731"/>
                <a:gd name="connsiteY3" fmla="*/ 7077808 h 7503364"/>
                <a:gd name="connsiteX4" fmla="*/ 0 w 1014731"/>
                <a:gd name="connsiteY4" fmla="*/ 7503364 h 7503364"/>
                <a:gd name="connsiteX0" fmla="*/ 0 w 1014731"/>
                <a:gd name="connsiteY0" fmla="*/ 7503364 h 7503364"/>
                <a:gd name="connsiteX1" fmla="*/ 793220 w 1014731"/>
                <a:gd name="connsiteY1" fmla="*/ 1227564 h 7503364"/>
                <a:gd name="connsiteX2" fmla="*/ 945205 w 1014731"/>
                <a:gd name="connsiteY2" fmla="*/ 0 h 7503364"/>
                <a:gd name="connsiteX3" fmla="*/ 1014731 w 1014731"/>
                <a:gd name="connsiteY3" fmla="*/ 7077808 h 7503364"/>
                <a:gd name="connsiteX4" fmla="*/ 0 w 1014731"/>
                <a:gd name="connsiteY4" fmla="*/ 7503364 h 7503364"/>
                <a:gd name="connsiteX0" fmla="*/ 0 w 1014731"/>
                <a:gd name="connsiteY0" fmla="*/ 6275800 h 6275800"/>
                <a:gd name="connsiteX1" fmla="*/ 793220 w 1014731"/>
                <a:gd name="connsiteY1" fmla="*/ 0 h 6275800"/>
                <a:gd name="connsiteX2" fmla="*/ 963930 w 1014731"/>
                <a:gd name="connsiteY2" fmla="*/ 237103 h 6275800"/>
                <a:gd name="connsiteX3" fmla="*/ 1014731 w 1014731"/>
                <a:gd name="connsiteY3" fmla="*/ 5850244 h 6275800"/>
                <a:gd name="connsiteX4" fmla="*/ 0 w 1014731"/>
                <a:gd name="connsiteY4" fmla="*/ 6275800 h 6275800"/>
                <a:gd name="connsiteX0" fmla="*/ 0 w 1014731"/>
                <a:gd name="connsiteY0" fmla="*/ 6321680 h 6321680"/>
                <a:gd name="connsiteX1" fmla="*/ 850196 w 1014731"/>
                <a:gd name="connsiteY1" fmla="*/ 0 h 6321680"/>
                <a:gd name="connsiteX2" fmla="*/ 963930 w 1014731"/>
                <a:gd name="connsiteY2" fmla="*/ 282983 h 6321680"/>
                <a:gd name="connsiteX3" fmla="*/ 1014731 w 1014731"/>
                <a:gd name="connsiteY3" fmla="*/ 5896124 h 6321680"/>
                <a:gd name="connsiteX4" fmla="*/ 0 w 1014731"/>
                <a:gd name="connsiteY4" fmla="*/ 6321680 h 6321680"/>
                <a:gd name="connsiteX0" fmla="*/ 0 w 1014731"/>
                <a:gd name="connsiteY0" fmla="*/ 6337721 h 6337721"/>
                <a:gd name="connsiteX1" fmla="*/ 810697 w 1014731"/>
                <a:gd name="connsiteY1" fmla="*/ 0 h 6337721"/>
                <a:gd name="connsiteX2" fmla="*/ 963930 w 1014731"/>
                <a:gd name="connsiteY2" fmla="*/ 299024 h 6337721"/>
                <a:gd name="connsiteX3" fmla="*/ 1014731 w 1014731"/>
                <a:gd name="connsiteY3" fmla="*/ 5912165 h 6337721"/>
                <a:gd name="connsiteX4" fmla="*/ 0 w 1014731"/>
                <a:gd name="connsiteY4" fmla="*/ 6337721 h 6337721"/>
                <a:gd name="connsiteX0" fmla="*/ 0 w 1014731"/>
                <a:gd name="connsiteY0" fmla="*/ 6337721 h 6337721"/>
                <a:gd name="connsiteX1" fmla="*/ 810697 w 1014731"/>
                <a:gd name="connsiteY1" fmla="*/ 0 h 6337721"/>
                <a:gd name="connsiteX2" fmla="*/ 961456 w 1014731"/>
                <a:gd name="connsiteY2" fmla="*/ 267345 h 6337721"/>
                <a:gd name="connsiteX3" fmla="*/ 1014731 w 1014731"/>
                <a:gd name="connsiteY3" fmla="*/ 5912165 h 6337721"/>
                <a:gd name="connsiteX4" fmla="*/ 0 w 1014731"/>
                <a:gd name="connsiteY4" fmla="*/ 6337721 h 6337721"/>
                <a:gd name="connsiteX0" fmla="*/ 0 w 1014731"/>
                <a:gd name="connsiteY0" fmla="*/ 6343586 h 6343586"/>
                <a:gd name="connsiteX1" fmla="*/ 824582 w 1014731"/>
                <a:gd name="connsiteY1" fmla="*/ 0 h 6343586"/>
                <a:gd name="connsiteX2" fmla="*/ 961456 w 1014731"/>
                <a:gd name="connsiteY2" fmla="*/ 273210 h 6343586"/>
                <a:gd name="connsiteX3" fmla="*/ 1014731 w 1014731"/>
                <a:gd name="connsiteY3" fmla="*/ 5918030 h 6343586"/>
                <a:gd name="connsiteX4" fmla="*/ 0 w 1014731"/>
                <a:gd name="connsiteY4" fmla="*/ 6343586 h 6343586"/>
                <a:gd name="connsiteX0" fmla="*/ 0 w 1014731"/>
                <a:gd name="connsiteY0" fmla="*/ 6343586 h 6343586"/>
                <a:gd name="connsiteX1" fmla="*/ 824582 w 1014731"/>
                <a:gd name="connsiteY1" fmla="*/ 0 h 6343586"/>
                <a:gd name="connsiteX2" fmla="*/ 945417 w 1014731"/>
                <a:gd name="connsiteY2" fmla="*/ 312710 h 6343586"/>
                <a:gd name="connsiteX3" fmla="*/ 1014731 w 1014731"/>
                <a:gd name="connsiteY3" fmla="*/ 5918030 h 6343586"/>
                <a:gd name="connsiteX4" fmla="*/ 0 w 1014731"/>
                <a:gd name="connsiteY4" fmla="*/ 6343586 h 6343586"/>
                <a:gd name="connsiteX0" fmla="*/ 0 w 1014731"/>
                <a:gd name="connsiteY0" fmla="*/ 6343586 h 6343586"/>
                <a:gd name="connsiteX1" fmla="*/ 824582 w 1014731"/>
                <a:gd name="connsiteY1" fmla="*/ 0 h 6343586"/>
                <a:gd name="connsiteX2" fmla="*/ 937597 w 1014731"/>
                <a:gd name="connsiteY2" fmla="*/ 294197 h 6343586"/>
                <a:gd name="connsiteX3" fmla="*/ 1014731 w 1014731"/>
                <a:gd name="connsiteY3" fmla="*/ 5918030 h 6343586"/>
                <a:gd name="connsiteX4" fmla="*/ 0 w 1014731"/>
                <a:gd name="connsiteY4" fmla="*/ 6343586 h 6343586"/>
                <a:gd name="connsiteX0" fmla="*/ 0 w 1014731"/>
                <a:gd name="connsiteY0" fmla="*/ 6343586 h 6343586"/>
                <a:gd name="connsiteX1" fmla="*/ 824582 w 1014731"/>
                <a:gd name="connsiteY1" fmla="*/ 0 h 6343586"/>
                <a:gd name="connsiteX2" fmla="*/ 942225 w 1014731"/>
                <a:gd name="connsiteY2" fmla="*/ 292242 h 6343586"/>
                <a:gd name="connsiteX3" fmla="*/ 1014731 w 1014731"/>
                <a:gd name="connsiteY3" fmla="*/ 5918030 h 6343586"/>
                <a:gd name="connsiteX4" fmla="*/ 0 w 1014731"/>
                <a:gd name="connsiteY4" fmla="*/ 6343586 h 6343586"/>
                <a:gd name="connsiteX0" fmla="*/ 0 w 1014731"/>
                <a:gd name="connsiteY0" fmla="*/ 6395388 h 6395388"/>
                <a:gd name="connsiteX1" fmla="*/ 796930 w 1014731"/>
                <a:gd name="connsiteY1" fmla="*/ 0 h 6395388"/>
                <a:gd name="connsiteX2" fmla="*/ 942225 w 1014731"/>
                <a:gd name="connsiteY2" fmla="*/ 344044 h 6395388"/>
                <a:gd name="connsiteX3" fmla="*/ 1014731 w 1014731"/>
                <a:gd name="connsiteY3" fmla="*/ 5969832 h 6395388"/>
                <a:gd name="connsiteX4" fmla="*/ 0 w 1014731"/>
                <a:gd name="connsiteY4" fmla="*/ 6395388 h 63953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14731" h="6395388">
                  <a:moveTo>
                    <a:pt x="0" y="6395388"/>
                  </a:moveTo>
                  <a:lnTo>
                    <a:pt x="796930" y="0"/>
                  </a:lnTo>
                  <a:lnTo>
                    <a:pt x="942225" y="344044"/>
                  </a:lnTo>
                  <a:lnTo>
                    <a:pt x="1014731" y="5969832"/>
                  </a:lnTo>
                  <a:lnTo>
                    <a:pt x="0" y="6395388"/>
                  </a:lnTo>
                  <a:close/>
                </a:path>
              </a:pathLst>
            </a:custGeom>
            <a:gradFill>
              <a:gsLst>
                <a:gs pos="34000">
                  <a:schemeClr val="bg2"/>
                </a:gs>
                <a:gs pos="100000">
                  <a:srgbClr val="5BA23C"/>
                </a:gs>
              </a:gsLst>
              <a:lin ang="21594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3488526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_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990AAAFC-EC6A-4B79-8E5C-2625B3C1AA9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alphaModFix amt="3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88960" cy="6858000"/>
          </a:xfrm>
          <a:prstGeom prst="rect">
            <a:avLst/>
          </a:prstGeom>
        </p:spPr>
      </p:pic>
      <p:sp>
        <p:nvSpPr>
          <p:cNvPr id="27" name="Rectangle: Rounded Corners 26">
            <a:extLst>
              <a:ext uri="{FF2B5EF4-FFF2-40B4-BE49-F238E27FC236}">
                <a16:creationId xmlns:a16="http://schemas.microsoft.com/office/drawing/2014/main" id="{9BB3FF62-BEB4-4BBC-9BB1-5AA72B48CF38}"/>
              </a:ext>
            </a:extLst>
          </p:cNvPr>
          <p:cNvSpPr/>
          <p:nvPr userDrawn="1"/>
        </p:nvSpPr>
        <p:spPr>
          <a:xfrm rot="18679580">
            <a:off x="5571697" y="2250091"/>
            <a:ext cx="5236260" cy="1832698"/>
          </a:xfrm>
          <a:prstGeom prst="roundRect">
            <a:avLst/>
          </a:prstGeom>
          <a:solidFill>
            <a:srgbClr val="F8F9FA">
              <a:alpha val="64000"/>
            </a:srgbClr>
          </a:solidFill>
          <a:ln>
            <a:noFill/>
          </a:ln>
          <a:effectLst>
            <a:softEdge rad="4445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bg1"/>
              </a:solidFill>
            </a:endParaRPr>
          </a:p>
        </p:txBody>
      </p:sp>
      <p:sp>
        <p:nvSpPr>
          <p:cNvPr id="21" name="Rectangle: Rounded Corners 20">
            <a:extLst>
              <a:ext uri="{FF2B5EF4-FFF2-40B4-BE49-F238E27FC236}">
                <a16:creationId xmlns:a16="http://schemas.microsoft.com/office/drawing/2014/main" id="{E7305282-8257-43B2-AEB0-4EECC265B6D8}"/>
              </a:ext>
            </a:extLst>
          </p:cNvPr>
          <p:cNvSpPr/>
          <p:nvPr userDrawn="1"/>
        </p:nvSpPr>
        <p:spPr>
          <a:xfrm>
            <a:off x="1817683" y="2214235"/>
            <a:ext cx="5236260" cy="1991381"/>
          </a:xfrm>
          <a:prstGeom prst="roundRect">
            <a:avLst/>
          </a:prstGeom>
          <a:gradFill>
            <a:gsLst>
              <a:gs pos="0">
                <a:srgbClr val="F0F2F6"/>
              </a:gs>
              <a:gs pos="100000">
                <a:srgbClr val="F0F2F5"/>
              </a:gs>
            </a:gsLst>
            <a:lin ang="5400000" scaled="1"/>
          </a:gradFill>
          <a:ln>
            <a:noFill/>
          </a:ln>
          <a:effectLst>
            <a:softEdge rad="4445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bg1"/>
              </a:solidFill>
            </a:endParaRPr>
          </a:p>
        </p:txBody>
      </p:sp>
      <p:sp>
        <p:nvSpPr>
          <p:cNvPr id="22" name="Title 21"/>
          <p:cNvSpPr>
            <a:spLocks noGrp="1"/>
          </p:cNvSpPr>
          <p:nvPr>
            <p:ph type="title" hasCustomPrompt="1"/>
          </p:nvPr>
        </p:nvSpPr>
        <p:spPr bwMode="gray">
          <a:xfrm>
            <a:off x="2665328" y="3082752"/>
            <a:ext cx="8869680" cy="692497"/>
          </a:xfrm>
        </p:spPr>
        <p:txBody>
          <a:bodyPr vert="horz" lIns="0" tIns="0" rIns="0" bIns="0" rtlCol="0" anchor="ctr" anchorCtr="0">
            <a:spAutoFit/>
          </a:bodyPr>
          <a:lstStyle>
            <a:lvl1pPr>
              <a:lnSpc>
                <a:spcPct val="100000"/>
              </a:lnSpc>
              <a:defRPr lang="en-US" sz="5000" dirty="0"/>
            </a:lvl1pPr>
          </a:lstStyle>
          <a:p>
            <a:pPr marL="0" lvl="0">
              <a:lnSpc>
                <a:spcPct val="90000"/>
              </a:lnSpc>
              <a:spcBef>
                <a:spcPts val="1200"/>
              </a:spcBef>
            </a:pPr>
            <a:r>
              <a:rPr lang="en-US" dirty="0"/>
              <a:t>Divider – 2 lines of text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8D4250D6-FEAA-416E-9521-0C7E8FEDCFB1}"/>
              </a:ext>
            </a:extLst>
          </p:cNvPr>
          <p:cNvGrpSpPr/>
          <p:nvPr userDrawn="1"/>
        </p:nvGrpSpPr>
        <p:grpSpPr>
          <a:xfrm>
            <a:off x="0" y="2784626"/>
            <a:ext cx="2451100" cy="1288748"/>
            <a:chOff x="0" y="2781802"/>
            <a:chExt cx="2451100" cy="1288748"/>
          </a:xfrm>
        </p:grpSpPr>
        <p:sp>
          <p:nvSpPr>
            <p:cNvPr id="2" name="Rectangle 1">
              <a:extLst>
                <a:ext uri="{FF2B5EF4-FFF2-40B4-BE49-F238E27FC236}">
                  <a16:creationId xmlns:a16="http://schemas.microsoft.com/office/drawing/2014/main" id="{BB5A8BEB-B893-4846-98F3-0D2FA3DAF44A}"/>
                </a:ext>
              </a:extLst>
            </p:cNvPr>
            <p:cNvSpPr/>
            <p:nvPr userDrawn="1"/>
          </p:nvSpPr>
          <p:spPr>
            <a:xfrm>
              <a:off x="0" y="2781802"/>
              <a:ext cx="2451100" cy="1288748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s-PE">
                <a:solidFill>
                  <a:schemeClr val="bg1"/>
                </a:solidFill>
              </a:endParaRPr>
            </a:p>
          </p:txBody>
        </p:sp>
        <p:pic>
          <p:nvPicPr>
            <p:cNvPr id="25" name="Picture 24">
              <a:extLst>
                <a:ext uri="{FF2B5EF4-FFF2-40B4-BE49-F238E27FC236}">
                  <a16:creationId xmlns:a16="http://schemas.microsoft.com/office/drawing/2014/main" id="{97BE8F70-36B7-458B-B578-D69CA9DC334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screen">
              <a:alphaModFix amt="5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47779" r="6346"/>
            <a:stretch/>
          </p:blipFill>
          <p:spPr>
            <a:xfrm>
              <a:off x="1602722" y="2880097"/>
              <a:ext cx="762261" cy="438912"/>
            </a:xfrm>
            <a:prstGeom prst="rect">
              <a:avLst/>
            </a:prstGeom>
          </p:spPr>
        </p:pic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E408083A-7AF2-485E-81A3-882A7E58FB9E}"/>
                </a:ext>
              </a:extLst>
            </p:cNvPr>
            <p:cNvSpPr/>
            <p:nvPr userDrawn="1"/>
          </p:nvSpPr>
          <p:spPr>
            <a:xfrm rot="16200000" flipH="1">
              <a:off x="310000" y="2739428"/>
              <a:ext cx="4756" cy="274320"/>
            </a:xfrm>
            <a:custGeom>
              <a:avLst/>
              <a:gdLst>
                <a:gd name="connsiteX0" fmla="*/ 0 w 19050"/>
                <a:gd name="connsiteY0" fmla="*/ 0 h 732567"/>
                <a:gd name="connsiteX1" fmla="*/ 19050 w 19050"/>
                <a:gd name="connsiteY1" fmla="*/ 0 h 732567"/>
                <a:gd name="connsiteX2" fmla="*/ 19050 w 19050"/>
                <a:gd name="connsiteY2" fmla="*/ 732568 h 732567"/>
                <a:gd name="connsiteX3" fmla="*/ 0 w 19050"/>
                <a:gd name="connsiteY3" fmla="*/ 732568 h 732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050" h="732567">
                  <a:moveTo>
                    <a:pt x="0" y="0"/>
                  </a:moveTo>
                  <a:lnTo>
                    <a:pt x="19050" y="0"/>
                  </a:lnTo>
                  <a:lnTo>
                    <a:pt x="19050" y="732568"/>
                  </a:lnTo>
                  <a:lnTo>
                    <a:pt x="0" y="73256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8F6F5B00-CCFD-4753-AE13-694C077322FB}"/>
                </a:ext>
              </a:extLst>
            </p:cNvPr>
            <p:cNvSpPr/>
            <p:nvPr userDrawn="1"/>
          </p:nvSpPr>
          <p:spPr>
            <a:xfrm rot="16200000" flipH="1">
              <a:off x="82144" y="2970143"/>
              <a:ext cx="182880" cy="4755"/>
            </a:xfrm>
            <a:custGeom>
              <a:avLst/>
              <a:gdLst>
                <a:gd name="connsiteX0" fmla="*/ 0 w 734853"/>
                <a:gd name="connsiteY0" fmla="*/ 0 h 19049"/>
                <a:gd name="connsiteX1" fmla="*/ 734854 w 734853"/>
                <a:gd name="connsiteY1" fmla="*/ 0 h 19049"/>
                <a:gd name="connsiteX2" fmla="*/ 734854 w 734853"/>
                <a:gd name="connsiteY2" fmla="*/ 19050 h 19049"/>
                <a:gd name="connsiteX3" fmla="*/ 0 w 734853"/>
                <a:gd name="connsiteY3" fmla="*/ 19050 h 190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34853" h="19049">
                  <a:moveTo>
                    <a:pt x="0" y="0"/>
                  </a:moveTo>
                  <a:lnTo>
                    <a:pt x="734854" y="0"/>
                  </a:lnTo>
                  <a:lnTo>
                    <a:pt x="734854" y="19050"/>
                  </a:lnTo>
                  <a:lnTo>
                    <a:pt x="0" y="19050"/>
                  </a:ln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03C3E752-A506-4A5E-A907-CAEBDA95F961}"/>
                </a:ext>
              </a:extLst>
            </p:cNvPr>
            <p:cNvCxnSpPr/>
            <p:nvPr userDrawn="1"/>
          </p:nvCxnSpPr>
          <p:spPr>
            <a:xfrm>
              <a:off x="176782" y="3016529"/>
              <a:ext cx="0" cy="1051560"/>
            </a:xfrm>
            <a:prstGeom prst="line">
              <a:avLst/>
            </a:prstGeom>
            <a:ln w="3175">
              <a:solidFill>
                <a:schemeClr val="bg1">
                  <a:alpha val="49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8697427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3_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89F6B745-8BA9-46B4-9B25-CD8E9383EC2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alphaModFix amt="3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88960" cy="6858000"/>
          </a:xfrm>
          <a:prstGeom prst="rect">
            <a:avLst/>
          </a:prstGeom>
        </p:spPr>
      </p:pic>
      <p:sp>
        <p:nvSpPr>
          <p:cNvPr id="25" name="Rectangle: Rounded Corners 24">
            <a:extLst>
              <a:ext uri="{FF2B5EF4-FFF2-40B4-BE49-F238E27FC236}">
                <a16:creationId xmlns:a16="http://schemas.microsoft.com/office/drawing/2014/main" id="{2B86D6A8-93D9-4C96-8C7F-D7EAEC83A61E}"/>
              </a:ext>
            </a:extLst>
          </p:cNvPr>
          <p:cNvSpPr/>
          <p:nvPr userDrawn="1"/>
        </p:nvSpPr>
        <p:spPr>
          <a:xfrm rot="18679580">
            <a:off x="5571697" y="2250091"/>
            <a:ext cx="5236260" cy="1832698"/>
          </a:xfrm>
          <a:prstGeom prst="roundRect">
            <a:avLst/>
          </a:prstGeom>
          <a:solidFill>
            <a:srgbClr val="F8F9FA">
              <a:alpha val="64000"/>
            </a:srgbClr>
          </a:solidFill>
          <a:ln>
            <a:noFill/>
          </a:ln>
          <a:effectLst>
            <a:softEdge rad="4445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bg1"/>
              </a:solidFill>
            </a:endParaRPr>
          </a:p>
        </p:txBody>
      </p:sp>
      <p:sp>
        <p:nvSpPr>
          <p:cNvPr id="21" name="Rectangle: Rounded Corners 20">
            <a:extLst>
              <a:ext uri="{FF2B5EF4-FFF2-40B4-BE49-F238E27FC236}">
                <a16:creationId xmlns:a16="http://schemas.microsoft.com/office/drawing/2014/main" id="{2E57DD81-849B-4BA9-9E6D-E8A065B986CB}"/>
              </a:ext>
            </a:extLst>
          </p:cNvPr>
          <p:cNvSpPr/>
          <p:nvPr userDrawn="1"/>
        </p:nvSpPr>
        <p:spPr>
          <a:xfrm>
            <a:off x="1817683" y="1718935"/>
            <a:ext cx="5236260" cy="2581931"/>
          </a:xfrm>
          <a:prstGeom prst="roundRect">
            <a:avLst/>
          </a:prstGeom>
          <a:gradFill>
            <a:gsLst>
              <a:gs pos="0">
                <a:srgbClr val="F5F6F9"/>
              </a:gs>
              <a:gs pos="100000">
                <a:srgbClr val="F0F2F5"/>
              </a:gs>
            </a:gsLst>
            <a:lin ang="5400000" scaled="1"/>
          </a:gradFill>
          <a:ln>
            <a:noFill/>
          </a:ln>
          <a:effectLst>
            <a:softEdge rad="4445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bg1"/>
              </a:solidFill>
            </a:endParaRPr>
          </a:p>
        </p:txBody>
      </p:sp>
      <p:sp>
        <p:nvSpPr>
          <p:cNvPr id="22" name="Title 21"/>
          <p:cNvSpPr>
            <a:spLocks noGrp="1"/>
          </p:cNvSpPr>
          <p:nvPr>
            <p:ph type="title" hasCustomPrompt="1"/>
          </p:nvPr>
        </p:nvSpPr>
        <p:spPr bwMode="gray">
          <a:xfrm>
            <a:off x="2665328" y="3082751"/>
            <a:ext cx="8869680" cy="692497"/>
          </a:xfrm>
        </p:spPr>
        <p:txBody>
          <a:bodyPr vert="horz" lIns="0" tIns="0" rIns="0" bIns="0" rtlCol="0" anchor="ctr" anchorCtr="0">
            <a:spAutoFit/>
          </a:bodyPr>
          <a:lstStyle>
            <a:lvl1pPr>
              <a:lnSpc>
                <a:spcPct val="100000"/>
              </a:lnSpc>
              <a:defRPr lang="en-US" sz="5000" dirty="0"/>
            </a:lvl1pPr>
          </a:lstStyle>
          <a:p>
            <a:pPr marL="0" lvl="0">
              <a:lnSpc>
                <a:spcPct val="90000"/>
              </a:lnSpc>
              <a:spcBef>
                <a:spcPts val="1200"/>
              </a:spcBef>
            </a:pPr>
            <a:r>
              <a:rPr lang="en-US" dirty="0"/>
              <a:t>Divider – 3 lines of text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8314FC01-330E-4910-9C2B-2E41A9074A44}"/>
              </a:ext>
            </a:extLst>
          </p:cNvPr>
          <p:cNvGrpSpPr/>
          <p:nvPr userDrawn="1"/>
        </p:nvGrpSpPr>
        <p:grpSpPr>
          <a:xfrm>
            <a:off x="0" y="2426267"/>
            <a:ext cx="2451100" cy="2005466"/>
            <a:chOff x="0" y="2361678"/>
            <a:chExt cx="2451100" cy="2005466"/>
          </a:xfrm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22EED636-AB3A-469B-A4E2-02308B8ADAA6}"/>
                </a:ext>
              </a:extLst>
            </p:cNvPr>
            <p:cNvSpPr/>
            <p:nvPr userDrawn="1"/>
          </p:nvSpPr>
          <p:spPr>
            <a:xfrm>
              <a:off x="0" y="2361678"/>
              <a:ext cx="2451100" cy="2005466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s-PE">
                <a:solidFill>
                  <a:schemeClr val="bg1"/>
                </a:solidFill>
              </a:endParaRPr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55F8FE89-DBDD-4562-8330-516508678216}"/>
                </a:ext>
              </a:extLst>
            </p:cNvPr>
            <p:cNvSpPr/>
            <p:nvPr userDrawn="1"/>
          </p:nvSpPr>
          <p:spPr>
            <a:xfrm rot="16200000" flipH="1">
              <a:off x="310000" y="2313229"/>
              <a:ext cx="4756" cy="274320"/>
            </a:xfrm>
            <a:custGeom>
              <a:avLst/>
              <a:gdLst>
                <a:gd name="connsiteX0" fmla="*/ 0 w 19050"/>
                <a:gd name="connsiteY0" fmla="*/ 0 h 732567"/>
                <a:gd name="connsiteX1" fmla="*/ 19050 w 19050"/>
                <a:gd name="connsiteY1" fmla="*/ 0 h 732567"/>
                <a:gd name="connsiteX2" fmla="*/ 19050 w 19050"/>
                <a:gd name="connsiteY2" fmla="*/ 732568 h 732567"/>
                <a:gd name="connsiteX3" fmla="*/ 0 w 19050"/>
                <a:gd name="connsiteY3" fmla="*/ 732568 h 732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050" h="732567">
                  <a:moveTo>
                    <a:pt x="0" y="0"/>
                  </a:moveTo>
                  <a:lnTo>
                    <a:pt x="19050" y="0"/>
                  </a:lnTo>
                  <a:lnTo>
                    <a:pt x="19050" y="732568"/>
                  </a:lnTo>
                  <a:lnTo>
                    <a:pt x="0" y="73256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pic>
          <p:nvPicPr>
            <p:cNvPr id="32" name="Picture 31">
              <a:extLst>
                <a:ext uri="{FF2B5EF4-FFF2-40B4-BE49-F238E27FC236}">
                  <a16:creationId xmlns:a16="http://schemas.microsoft.com/office/drawing/2014/main" id="{5C723D6E-6981-49D3-9A49-8FECE050A7F2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screen">
              <a:alphaModFix amt="5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47779" r="6346"/>
            <a:stretch/>
          </p:blipFill>
          <p:spPr>
            <a:xfrm>
              <a:off x="1602722" y="2544430"/>
              <a:ext cx="762261" cy="438912"/>
            </a:xfrm>
            <a:prstGeom prst="rect">
              <a:avLst/>
            </a:prstGeom>
          </p:spPr>
        </p:pic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06EDB808-7AAB-4360-8904-E5555B7B296E}"/>
                </a:ext>
              </a:extLst>
            </p:cNvPr>
            <p:cNvSpPr/>
            <p:nvPr userDrawn="1"/>
          </p:nvSpPr>
          <p:spPr>
            <a:xfrm rot="16200000" flipH="1">
              <a:off x="82144" y="2532983"/>
              <a:ext cx="182880" cy="4755"/>
            </a:xfrm>
            <a:custGeom>
              <a:avLst/>
              <a:gdLst>
                <a:gd name="connsiteX0" fmla="*/ 0 w 734853"/>
                <a:gd name="connsiteY0" fmla="*/ 0 h 19049"/>
                <a:gd name="connsiteX1" fmla="*/ 734854 w 734853"/>
                <a:gd name="connsiteY1" fmla="*/ 0 h 19049"/>
                <a:gd name="connsiteX2" fmla="*/ 734854 w 734853"/>
                <a:gd name="connsiteY2" fmla="*/ 19050 h 19049"/>
                <a:gd name="connsiteX3" fmla="*/ 0 w 734853"/>
                <a:gd name="connsiteY3" fmla="*/ 19050 h 190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34853" h="19049">
                  <a:moveTo>
                    <a:pt x="0" y="0"/>
                  </a:moveTo>
                  <a:lnTo>
                    <a:pt x="734854" y="0"/>
                  </a:lnTo>
                  <a:lnTo>
                    <a:pt x="734854" y="19050"/>
                  </a:lnTo>
                  <a:lnTo>
                    <a:pt x="0" y="19050"/>
                  </a:ln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A2F4CF45-75A1-48BA-9BFE-66AE4C9D0D8E}"/>
                </a:ext>
              </a:extLst>
            </p:cNvPr>
            <p:cNvCxnSpPr/>
            <p:nvPr userDrawn="1"/>
          </p:nvCxnSpPr>
          <p:spPr>
            <a:xfrm>
              <a:off x="176782" y="2579369"/>
              <a:ext cx="0" cy="1783080"/>
            </a:xfrm>
            <a:prstGeom prst="line">
              <a:avLst/>
            </a:prstGeom>
            <a:ln w="3175">
              <a:solidFill>
                <a:schemeClr val="bg1">
                  <a:alpha val="49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6089345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90760" y="1713756"/>
            <a:ext cx="10789920" cy="4481310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dirty="0" smtClean="0"/>
            </a:lvl1pPr>
            <a:lvl2pPr>
              <a:defRPr lang="en-US" noProof="0" dirty="0" smtClean="0"/>
            </a:lvl2pPr>
            <a:lvl3pPr>
              <a:defRPr lang="en-US" noProof="0" dirty="0" smtClean="0"/>
            </a:lvl3pPr>
            <a:lvl4pPr>
              <a:defRPr lang="en-US" noProof="0" dirty="0" smtClean="0"/>
            </a:lvl4pPr>
            <a:lvl5pPr>
              <a:defRPr lang="en-US" noProof="0" dirty="0"/>
            </a:lvl5pPr>
          </a:lstStyle>
          <a:p>
            <a:pPr lvl="0"/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Add text</a:t>
            </a:r>
          </a:p>
          <a:p>
            <a:pPr lvl="1"/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Second level</a:t>
            </a:r>
          </a:p>
          <a:p>
            <a:pPr lvl="2"/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Third level</a:t>
            </a:r>
          </a:p>
          <a:p>
            <a:pPr lvl="3"/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Fourth level</a:t>
            </a:r>
          </a:p>
          <a:p>
            <a:pPr lvl="4"/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Fifth level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14A7928-2068-42B4-AB1B-DA77806D13C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0760" y="678174"/>
            <a:ext cx="10789920" cy="369332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490760" y="1711084"/>
            <a:ext cx="5430358" cy="4297680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480336" y="1711084"/>
            <a:ext cx="5359241" cy="4297680"/>
          </a:xfrm>
        </p:spPr>
        <p:txBody>
          <a:bodyPr vert="horz" lIns="0" tIns="0" rIns="0" bIns="0" rtlCol="0">
            <a:noAutofit/>
          </a:bodyPr>
          <a:lstStyle>
            <a:lvl1pPr>
              <a:defRPr kumimoji="0" lang="en-US" b="0" i="0" u="none" strike="noStrike" cap="none" spc="0" normalizeH="0" baseline="0" dirty="0" smtClean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</a:defRPr>
            </a:lvl1pPr>
            <a:lvl2pPr>
              <a:defRPr kumimoji="0" lang="en-US" b="0" i="0" u="none" strike="noStrike" cap="none" spc="0" normalizeH="0" baseline="0" dirty="0" smtClean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</a:defRPr>
            </a:lvl2pPr>
            <a:lvl3pPr>
              <a:defRPr kumimoji="0" lang="en-US" b="0" i="0" u="none" strike="noStrike" cap="none" spc="0" normalizeH="0" baseline="0" dirty="0" smtClean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</a:defRPr>
            </a:lvl3pPr>
            <a:lvl4pPr>
              <a:defRPr kumimoji="0" lang="en-US" b="0" i="0" u="none" strike="noStrike" cap="none" spc="0" normalizeH="0" dirty="0" smtClean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</a:defRPr>
            </a:lvl4pPr>
            <a:lvl5pPr>
              <a:defRPr kumimoji="0" lang="en-US" b="0" i="0" u="none" strike="noStrike" cap="none" spc="0" normalizeH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</a:defRPr>
            </a:lvl5pPr>
          </a:lstStyle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6E69CCC-D78C-4592-9155-75F363BF709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0760" y="678174"/>
            <a:ext cx="10789920" cy="369332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90759" y="1713756"/>
            <a:ext cx="3383280" cy="4297680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0" name="Content Placeholder 19"/>
          <p:cNvSpPr>
            <a:spLocks noGrp="1"/>
          </p:cNvSpPr>
          <p:nvPr>
            <p:ph sz="quarter" idx="15" hasCustomPrompt="1"/>
          </p:nvPr>
        </p:nvSpPr>
        <p:spPr>
          <a:xfrm>
            <a:off x="4404630" y="1713756"/>
            <a:ext cx="3383280" cy="4332170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2" name="Content Placeholder 21"/>
          <p:cNvSpPr>
            <a:spLocks noGrp="1"/>
          </p:cNvSpPr>
          <p:nvPr>
            <p:ph sz="quarter" idx="16" hasCustomPrompt="1"/>
          </p:nvPr>
        </p:nvSpPr>
        <p:spPr>
          <a:xfrm>
            <a:off x="8318500" y="1713756"/>
            <a:ext cx="3383280" cy="4332170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58233AF-2ADF-4388-AEFC-06C737873A4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0760" y="678174"/>
            <a:ext cx="10789920" cy="369332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7A4D7EE-4EB9-47BD-B3ED-30248208721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-third/Two-thir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" name="Group 14">
            <a:extLst>
              <a:ext uri="{FF2B5EF4-FFF2-40B4-BE49-F238E27FC236}">
                <a16:creationId xmlns:a16="http://schemas.microsoft.com/office/drawing/2014/main" id="{AD85CB9A-4B6E-46D5-93C1-6B94E6EC799C}"/>
              </a:ext>
            </a:extLst>
          </p:cNvPr>
          <p:cNvGrpSpPr/>
          <p:nvPr userDrawn="1"/>
        </p:nvGrpSpPr>
        <p:grpSpPr>
          <a:xfrm>
            <a:off x="567709" y="1509331"/>
            <a:ext cx="3558618" cy="4711129"/>
            <a:chOff x="567709" y="1528150"/>
            <a:chExt cx="3558618" cy="4692310"/>
          </a:xfrm>
        </p:grpSpPr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9A3E36D0-78B8-4B2E-80F7-98BD46D48237}"/>
                </a:ext>
              </a:extLst>
            </p:cNvPr>
            <p:cNvSpPr/>
            <p:nvPr userDrawn="1"/>
          </p:nvSpPr>
          <p:spPr>
            <a:xfrm>
              <a:off x="567709" y="1637881"/>
              <a:ext cx="3558618" cy="4582579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s-PE">
                <a:solidFill>
                  <a:schemeClr val="bg1"/>
                </a:solidFill>
              </a:endParaRPr>
            </a:p>
          </p:txBody>
        </p:sp>
        <p:sp>
          <p:nvSpPr>
            <p:cNvPr id="17" name="Arrow: Pentagon 16">
              <a:extLst>
                <a:ext uri="{FF2B5EF4-FFF2-40B4-BE49-F238E27FC236}">
                  <a16:creationId xmlns:a16="http://schemas.microsoft.com/office/drawing/2014/main" id="{8CCC2144-0958-47CB-9C83-0A02FD60F9F7}"/>
                </a:ext>
              </a:extLst>
            </p:cNvPr>
            <p:cNvSpPr/>
            <p:nvPr userDrawn="1"/>
          </p:nvSpPr>
          <p:spPr>
            <a:xfrm>
              <a:off x="567710" y="1528150"/>
              <a:ext cx="1235088" cy="223284"/>
            </a:xfrm>
            <a:prstGeom prst="homePlat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s-PE">
                <a:solidFill>
                  <a:schemeClr val="bg1"/>
                </a:solidFill>
              </a:endParaRPr>
            </a:p>
          </p:txBody>
        </p:sp>
      </p:grpSp>
      <p:grpSp>
        <p:nvGrpSpPr>
          <p:cNvPr id="92" name="Group 91">
            <a:extLst>
              <a:ext uri="{FF2B5EF4-FFF2-40B4-BE49-F238E27FC236}">
                <a16:creationId xmlns:a16="http://schemas.microsoft.com/office/drawing/2014/main" id="{B12FF236-F99E-4479-85B4-369212AD24CC}"/>
              </a:ext>
            </a:extLst>
          </p:cNvPr>
          <p:cNvGrpSpPr/>
          <p:nvPr userDrawn="1"/>
        </p:nvGrpSpPr>
        <p:grpSpPr>
          <a:xfrm>
            <a:off x="3331998" y="1775504"/>
            <a:ext cx="631597" cy="594534"/>
            <a:chOff x="3331998" y="1775504"/>
            <a:chExt cx="631597" cy="594534"/>
          </a:xfrm>
        </p:grpSpPr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3D0335EE-082B-49A5-8886-675F2FFC0959}"/>
                </a:ext>
              </a:extLst>
            </p:cNvPr>
            <p:cNvSpPr/>
            <p:nvPr userDrawn="1"/>
          </p:nvSpPr>
          <p:spPr>
            <a:xfrm flipH="1" flipV="1">
              <a:off x="3331998" y="1775507"/>
              <a:ext cx="236532" cy="243939"/>
            </a:xfrm>
            <a:custGeom>
              <a:avLst/>
              <a:gdLst>
                <a:gd name="connsiteX0" fmla="*/ 184242 w 236532"/>
                <a:gd name="connsiteY0" fmla="*/ 243939 h 243939"/>
                <a:gd name="connsiteX1" fmla="*/ 0 w 236532"/>
                <a:gd name="connsiteY1" fmla="*/ 243939 h 243939"/>
                <a:gd name="connsiteX2" fmla="*/ 236532 w 236532"/>
                <a:gd name="connsiteY2" fmla="*/ 0 h 243939"/>
                <a:gd name="connsiteX3" fmla="*/ 236532 w 236532"/>
                <a:gd name="connsiteY3" fmla="*/ 189945 h 243939"/>
                <a:gd name="connsiteX4" fmla="*/ 184242 w 236532"/>
                <a:gd name="connsiteY4" fmla="*/ 243939 h 2439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6532" h="243939">
                  <a:moveTo>
                    <a:pt x="184242" y="243939"/>
                  </a:moveTo>
                  <a:lnTo>
                    <a:pt x="0" y="243939"/>
                  </a:lnTo>
                  <a:lnTo>
                    <a:pt x="236532" y="0"/>
                  </a:lnTo>
                  <a:lnTo>
                    <a:pt x="236532" y="189945"/>
                  </a:lnTo>
                  <a:lnTo>
                    <a:pt x="184242" y="243939"/>
                  </a:ln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en-US"/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CA1C461B-0D2D-4EBC-A03B-8B16A24B85DD}"/>
                </a:ext>
              </a:extLst>
            </p:cNvPr>
            <p:cNvSpPr/>
            <p:nvPr userDrawn="1"/>
          </p:nvSpPr>
          <p:spPr>
            <a:xfrm flipH="1" flipV="1">
              <a:off x="3723772" y="2122077"/>
              <a:ext cx="239823" cy="247961"/>
            </a:xfrm>
            <a:custGeom>
              <a:avLst/>
              <a:gdLst>
                <a:gd name="connsiteX0" fmla="*/ 0 w 239823"/>
                <a:gd name="connsiteY0" fmla="*/ 247961 h 247961"/>
                <a:gd name="connsiteX1" fmla="*/ 0 w 239823"/>
                <a:gd name="connsiteY1" fmla="*/ 57467 h 247961"/>
                <a:gd name="connsiteX2" fmla="*/ 55581 w 239823"/>
                <a:gd name="connsiteY2" fmla="*/ 0 h 247961"/>
                <a:gd name="connsiteX3" fmla="*/ 239823 w 239823"/>
                <a:gd name="connsiteY3" fmla="*/ 0 h 247961"/>
                <a:gd name="connsiteX4" fmla="*/ 0 w 239823"/>
                <a:gd name="connsiteY4" fmla="*/ 247961 h 2479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9823" h="247961">
                  <a:moveTo>
                    <a:pt x="0" y="247961"/>
                  </a:moveTo>
                  <a:lnTo>
                    <a:pt x="0" y="57467"/>
                  </a:lnTo>
                  <a:lnTo>
                    <a:pt x="55581" y="0"/>
                  </a:lnTo>
                  <a:lnTo>
                    <a:pt x="239823" y="0"/>
                  </a:lnTo>
                  <a:lnTo>
                    <a:pt x="0" y="247961"/>
                  </a:ln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en-US"/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23666D4C-43E1-4899-A0D1-5640EFF2D767}"/>
                </a:ext>
              </a:extLst>
            </p:cNvPr>
            <p:cNvSpPr/>
            <p:nvPr userDrawn="1"/>
          </p:nvSpPr>
          <p:spPr>
            <a:xfrm>
              <a:off x="3340161" y="1775504"/>
              <a:ext cx="516651" cy="536140"/>
            </a:xfrm>
            <a:custGeom>
              <a:avLst/>
              <a:gdLst>
                <a:gd name="connsiteX0" fmla="*/ 332409 w 516651"/>
                <a:gd name="connsiteY0" fmla="*/ 0 h 536140"/>
                <a:gd name="connsiteX1" fmla="*/ 516651 w 516651"/>
                <a:gd name="connsiteY1" fmla="*/ 0 h 536140"/>
                <a:gd name="connsiteX2" fmla="*/ 0 w 516651"/>
                <a:gd name="connsiteY2" fmla="*/ 536140 h 536140"/>
                <a:gd name="connsiteX3" fmla="*/ 0 w 516651"/>
                <a:gd name="connsiteY3" fmla="*/ 344300 h 536140"/>
                <a:gd name="connsiteX4" fmla="*/ 332409 w 516651"/>
                <a:gd name="connsiteY4" fmla="*/ 0 h 5361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16651" h="536140">
                  <a:moveTo>
                    <a:pt x="332409" y="0"/>
                  </a:moveTo>
                  <a:lnTo>
                    <a:pt x="516651" y="0"/>
                  </a:lnTo>
                  <a:lnTo>
                    <a:pt x="0" y="536140"/>
                  </a:lnTo>
                  <a:lnTo>
                    <a:pt x="0" y="344300"/>
                  </a:lnTo>
                  <a:lnTo>
                    <a:pt x="332409" y="0"/>
                  </a:ln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lvl="0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25D781CC-2319-4EA1-B52D-2909EADC4D4E}"/>
                </a:ext>
              </a:extLst>
            </p:cNvPr>
            <p:cNvSpPr/>
            <p:nvPr userDrawn="1"/>
          </p:nvSpPr>
          <p:spPr>
            <a:xfrm>
              <a:off x="3402110" y="1793022"/>
              <a:ext cx="556042" cy="577015"/>
            </a:xfrm>
            <a:custGeom>
              <a:avLst/>
              <a:gdLst>
                <a:gd name="connsiteX0" fmla="*/ 556042 w 556042"/>
                <a:gd name="connsiteY0" fmla="*/ 0 h 577015"/>
                <a:gd name="connsiteX1" fmla="*/ 556042 w 556042"/>
                <a:gd name="connsiteY1" fmla="*/ 191192 h 577015"/>
                <a:gd name="connsiteX2" fmla="*/ 184244 w 556042"/>
                <a:gd name="connsiteY2" fmla="*/ 577015 h 577015"/>
                <a:gd name="connsiteX3" fmla="*/ 0 w 556042"/>
                <a:gd name="connsiteY3" fmla="*/ 577015 h 577015"/>
                <a:gd name="connsiteX4" fmla="*/ 556042 w 556042"/>
                <a:gd name="connsiteY4" fmla="*/ 0 h 577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6042" h="577015">
                  <a:moveTo>
                    <a:pt x="556042" y="0"/>
                  </a:moveTo>
                  <a:lnTo>
                    <a:pt x="556042" y="191192"/>
                  </a:lnTo>
                  <a:lnTo>
                    <a:pt x="184244" y="577015"/>
                  </a:lnTo>
                  <a:lnTo>
                    <a:pt x="0" y="577015"/>
                  </a:lnTo>
                  <a:lnTo>
                    <a:pt x="556042" y="0"/>
                  </a:ln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285750" indent="-285750" algn="l">
                <a:lnSpc>
                  <a:spcPct val="90000"/>
                </a:lnSpc>
                <a:spcBef>
                  <a:spcPts val="800"/>
                </a:spcBef>
                <a:buBlip>
                  <a:blip r:embed="rId2"/>
                </a:buBlip>
              </a:pPr>
              <a:endParaRPr lang="en-US" sz="1800" dirty="0" err="1">
                <a:solidFill>
                  <a:schemeClr val="bg1"/>
                </a:solidFill>
              </a:endParaRPr>
            </a:p>
          </p:txBody>
        </p:sp>
      </p:grpSp>
      <p:sp>
        <p:nvSpPr>
          <p:cNvPr id="14" name="Rectangle 13">
            <a:extLst>
              <a:ext uri="{FF2B5EF4-FFF2-40B4-BE49-F238E27FC236}">
                <a16:creationId xmlns:a16="http://schemas.microsoft.com/office/drawing/2014/main" id="{91DFB4FC-DBF3-4C25-B966-AEA10F97ECFF}"/>
              </a:ext>
            </a:extLst>
          </p:cNvPr>
          <p:cNvSpPr/>
          <p:nvPr userDrawn="1"/>
        </p:nvSpPr>
        <p:spPr>
          <a:xfrm>
            <a:off x="0" y="1509331"/>
            <a:ext cx="511478" cy="471112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s-PE">
              <a:solidFill>
                <a:schemeClr val="bg1"/>
              </a:solidFill>
            </a:endParaRPr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5AC239A6-22F7-4B2D-8EF3-10BAABBED69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5332" r="41262"/>
          <a:stretch/>
        </p:blipFill>
        <p:spPr>
          <a:xfrm rot="10800000">
            <a:off x="3479920" y="2982554"/>
            <a:ext cx="499802" cy="3101889"/>
          </a:xfrm>
          <a:prstGeom prst="rect">
            <a:avLst/>
          </a:prstGeom>
        </p:spPr>
      </p:pic>
      <p:sp>
        <p:nvSpPr>
          <p:cNvPr id="3" name="Content Placeholder 2"/>
          <p:cNvSpPr>
            <a:spLocks noGrp="1"/>
          </p:cNvSpPr>
          <p:nvPr userDrawn="1">
            <p:ph idx="1" hasCustomPrompt="1"/>
          </p:nvPr>
        </p:nvSpPr>
        <p:spPr>
          <a:xfrm>
            <a:off x="4561364" y="1622243"/>
            <a:ext cx="7095744" cy="4572000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itle 11"/>
          <p:cNvSpPr>
            <a:spLocks noGrp="1"/>
          </p:cNvSpPr>
          <p:nvPr userDrawn="1">
            <p:ph type="title" hasCustomPrompt="1"/>
          </p:nvPr>
        </p:nvSpPr>
        <p:spPr/>
        <p:txBody>
          <a:bodyPr anchor="ctr" anchorCtr="0"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25BD1AED-6D0A-4F50-922C-B2B90E0F1E5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71144" y="1866900"/>
            <a:ext cx="3029331" cy="4056888"/>
          </a:xfrm>
        </p:spPr>
        <p:txBody>
          <a:bodyPr vert="horz" lIns="0" tIns="0" rIns="0" bIns="0" rtlCol="0" anchor="ctr" anchorCtr="0">
            <a:noAutofit/>
          </a:bodyPr>
          <a:lstStyle>
            <a:lvl1pPr>
              <a:defRPr lang="en-US" dirty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 marL="832104" indent="-228600">
              <a:buFontTx/>
              <a:buBlip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</a:buBlip>
              <a:defRPr>
                <a:solidFill>
                  <a:schemeClr val="bg1"/>
                </a:solidFill>
              </a:defRPr>
            </a:lvl3pPr>
            <a:lvl4pPr marL="1078992" indent="-228600">
              <a:buFontTx/>
              <a:buBlip>
                <a:blip r:embed="rId6"/>
              </a:buBlip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en-US" dirty="0"/>
              <a:t>Add call out text here</a:t>
            </a:r>
          </a:p>
          <a:p>
            <a:pPr lvl="1"/>
            <a:r>
              <a:rPr lang="en-US" dirty="0"/>
              <a:t>Bullet 2</a:t>
            </a:r>
          </a:p>
          <a:p>
            <a:pPr lvl="2"/>
            <a:r>
              <a:rPr lang="en-US" dirty="0"/>
              <a:t>Bullet 3</a:t>
            </a:r>
          </a:p>
          <a:p>
            <a:pPr lvl="3"/>
            <a:r>
              <a:rPr lang="en-US" dirty="0"/>
              <a:t>Bullet 4</a:t>
            </a:r>
          </a:p>
        </p:txBody>
      </p:sp>
      <p:sp>
        <p:nvSpPr>
          <p:cNvPr id="74" name="Freeform: Shape 73">
            <a:extLst>
              <a:ext uri="{FF2B5EF4-FFF2-40B4-BE49-F238E27FC236}">
                <a16:creationId xmlns:a16="http://schemas.microsoft.com/office/drawing/2014/main" id="{4C10FBDB-41E4-496C-8570-6220B8FEEEEC}"/>
              </a:ext>
            </a:extLst>
          </p:cNvPr>
          <p:cNvSpPr/>
          <p:nvPr userDrawn="1"/>
        </p:nvSpPr>
        <p:spPr>
          <a:xfrm flipH="1" flipV="1">
            <a:off x="4290848" y="1775505"/>
            <a:ext cx="192186" cy="198707"/>
          </a:xfrm>
          <a:custGeom>
            <a:avLst/>
            <a:gdLst>
              <a:gd name="connsiteX0" fmla="*/ 184242 w 192186"/>
              <a:gd name="connsiteY0" fmla="*/ 198707 h 198707"/>
              <a:gd name="connsiteX1" fmla="*/ 0 w 192186"/>
              <a:gd name="connsiteY1" fmla="*/ 198707 h 198707"/>
              <a:gd name="connsiteX2" fmla="*/ 192186 w 192186"/>
              <a:gd name="connsiteY2" fmla="*/ 0 h 198707"/>
              <a:gd name="connsiteX3" fmla="*/ 192186 w 192186"/>
              <a:gd name="connsiteY3" fmla="*/ 190494 h 198707"/>
              <a:gd name="connsiteX4" fmla="*/ 184242 w 192186"/>
              <a:gd name="connsiteY4" fmla="*/ 198707 h 1987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2186" h="198707">
                <a:moveTo>
                  <a:pt x="184242" y="198707"/>
                </a:moveTo>
                <a:lnTo>
                  <a:pt x="0" y="198707"/>
                </a:lnTo>
                <a:lnTo>
                  <a:pt x="192186" y="0"/>
                </a:lnTo>
                <a:lnTo>
                  <a:pt x="192186" y="190494"/>
                </a:lnTo>
                <a:lnTo>
                  <a:pt x="184242" y="198707"/>
                </a:lnTo>
                <a:close/>
              </a:path>
            </a:pathLst>
          </a:custGeom>
          <a:solidFill>
            <a:schemeClr val="bg1">
              <a:alpha val="40000"/>
            </a:schemeClr>
          </a:solidFill>
          <a:ln w="9525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114463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ags" Target="../tags/tag1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image" Target="../media/image6.pn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heme" Target="../theme/theme1.xml"/><Relationship Id="rId33" Type="http://schemas.openxmlformats.org/officeDocument/2006/relationships/image" Target="../media/image2.svg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image" Target="../media/image3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image" Target="../media/image1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oleObject" Target="../embeddings/oleObject1.bin"/><Relationship Id="rId36" Type="http://schemas.openxmlformats.org/officeDocument/2006/relationships/image" Target="../media/image8.png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image" Target="../media/image5.sv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ags" Target="../tags/tag2.xml"/><Relationship Id="rId30" Type="http://schemas.openxmlformats.org/officeDocument/2006/relationships/image" Target="../media/image4.png"/><Relationship Id="rId35" Type="http://schemas.openxmlformats.org/officeDocument/2006/relationships/image" Target="../media/image7.png"/><Relationship Id="rId8" Type="http://schemas.openxmlformats.org/officeDocument/2006/relationships/slideLayout" Target="../slideLayouts/slideLayout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790734D-BEF5-41A5-9F49-51E157572097}"/>
              </a:ext>
            </a:extLst>
          </p:cNvPr>
          <p:cNvGraphicFramePr>
            <a:graphicFrameLocks noChangeAspect="1"/>
          </p:cNvGraphicFramePr>
          <p:nvPr>
            <p:custDataLst>
              <p:tags r:id="rId26"/>
            </p:custDataLst>
            <p:extLst>
              <p:ext uri="{D42A27DB-BD31-4B8C-83A1-F6EECF244321}">
                <p14:modId xmlns:p14="http://schemas.microsoft.com/office/powerpoint/2010/main" val="35326163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8" imgW="383" imgH="384" progId="TCLayout.ActiveDocument.1">
                  <p:embed/>
                </p:oleObj>
              </mc:Choice>
              <mc:Fallback>
                <p:oleObj name="think-cell Slide" r:id="rId28" imgW="383" imgH="38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790734D-BEF5-41A5-9F49-51E15757209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FBF71598-268F-4340-989F-8086D0EE7691}"/>
              </a:ext>
            </a:extLst>
          </p:cNvPr>
          <p:cNvSpPr/>
          <p:nvPr>
            <p:custDataLst>
              <p:tags r:id="rId27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lnSpc>
                <a:spcPct val="90000"/>
              </a:lnSpc>
              <a:spcBef>
                <a:spcPts val="800"/>
              </a:spcBef>
            </a:pPr>
            <a:endParaRPr lang="en-US" sz="3200" b="0" i="0" baseline="0" dirty="0">
              <a:solidFill>
                <a:schemeClr val="bg1"/>
              </a:solidFill>
              <a:latin typeface="PTCRaleway" panose="020B0503030101060003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90760" y="678174"/>
            <a:ext cx="10789920" cy="369332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/>
          <a:p>
            <a:r>
              <a:rPr lang="en-US" dirty="0"/>
              <a:t>add title – keep it brief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96648" y="1630680"/>
            <a:ext cx="10789919" cy="4572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16FE1755-5705-4A27-8F5C-B2D6D4D1E477}"/>
              </a:ext>
            </a:extLst>
          </p:cNvPr>
          <p:cNvSpPr/>
          <p:nvPr userDrawn="1"/>
        </p:nvSpPr>
        <p:spPr>
          <a:xfrm>
            <a:off x="496649" y="389410"/>
            <a:ext cx="955563" cy="45719"/>
          </a:xfrm>
          <a:prstGeom prst="rect">
            <a:avLst/>
          </a:prstGeom>
          <a:solidFill>
            <a:srgbClr val="5AB73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 dirty="0"/>
          </a:p>
        </p:txBody>
      </p:sp>
      <p:pic>
        <p:nvPicPr>
          <p:cNvPr id="73" name="Graphic 72">
            <a:extLst>
              <a:ext uri="{FF2B5EF4-FFF2-40B4-BE49-F238E27FC236}">
                <a16:creationId xmlns:a16="http://schemas.microsoft.com/office/drawing/2014/main" id="{03CC0558-A5CC-41DA-B025-39B57BA2FE65}"/>
              </a:ext>
            </a:extLst>
          </p:cNvPr>
          <p:cNvPicPr>
            <a:picLocks noChangeAspect="1"/>
          </p:cNvPicPr>
          <p:nvPr userDrawn="1"/>
        </p:nvPicPr>
        <p:blipFill>
          <a:blip r:embed="rId30">
            <a:extLst>
              <a:ext uri="{96DAC541-7B7A-43D3-8B79-37D633B846F1}">
                <asvg:svgBlip xmlns:asvg="http://schemas.microsoft.com/office/drawing/2016/SVG/main" r:embed="rId31"/>
              </a:ext>
            </a:extLst>
          </a:blip>
          <a:stretch>
            <a:fillRect/>
          </a:stretch>
        </p:blipFill>
        <p:spPr>
          <a:xfrm>
            <a:off x="45443" y="4871963"/>
            <a:ext cx="58992" cy="1828800"/>
          </a:xfrm>
          <a:prstGeom prst="rect">
            <a:avLst/>
          </a:prstGeom>
        </p:spPr>
      </p:pic>
      <p:grpSp>
        <p:nvGrpSpPr>
          <p:cNvPr id="6" name="Group 5">
            <a:extLst>
              <a:ext uri="{FF2B5EF4-FFF2-40B4-BE49-F238E27FC236}">
                <a16:creationId xmlns:a16="http://schemas.microsoft.com/office/drawing/2014/main" id="{CD2F2950-7537-4E6F-B33D-35A19B1AB26A}"/>
              </a:ext>
            </a:extLst>
          </p:cNvPr>
          <p:cNvGrpSpPr/>
          <p:nvPr userDrawn="1"/>
        </p:nvGrpSpPr>
        <p:grpSpPr>
          <a:xfrm>
            <a:off x="0" y="6620256"/>
            <a:ext cx="12188952" cy="237744"/>
            <a:chOff x="0" y="6620256"/>
            <a:chExt cx="12188952" cy="237744"/>
          </a:xfrm>
        </p:grpSpPr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CFD1D920-036D-4BCE-A963-9A109BD6E299}"/>
                </a:ext>
              </a:extLst>
            </p:cNvPr>
            <p:cNvSpPr/>
            <p:nvPr userDrawn="1"/>
          </p:nvSpPr>
          <p:spPr>
            <a:xfrm>
              <a:off x="0" y="6624535"/>
              <a:ext cx="12188952" cy="233465"/>
            </a:xfrm>
            <a:custGeom>
              <a:avLst/>
              <a:gdLst>
                <a:gd name="connsiteX0" fmla="*/ 8949770 w 11969877"/>
                <a:gd name="connsiteY0" fmla="*/ 0 h 233465"/>
                <a:gd name="connsiteX1" fmla="*/ 11969877 w 11969877"/>
                <a:gd name="connsiteY1" fmla="*/ 0 h 233465"/>
                <a:gd name="connsiteX2" fmla="*/ 11969877 w 11969877"/>
                <a:gd name="connsiteY2" fmla="*/ 233465 h 233465"/>
                <a:gd name="connsiteX3" fmla="*/ 9027859 w 11969877"/>
                <a:gd name="connsiteY3" fmla="*/ 233465 h 233465"/>
                <a:gd name="connsiteX4" fmla="*/ 1048596 w 11969877"/>
                <a:gd name="connsiteY4" fmla="*/ 233465 h 233465"/>
                <a:gd name="connsiteX5" fmla="*/ 33436 w 11969877"/>
                <a:gd name="connsiteY5" fmla="*/ 233465 h 233465"/>
                <a:gd name="connsiteX6" fmla="*/ 0 w 11969877"/>
                <a:gd name="connsiteY6" fmla="*/ 233465 h 233465"/>
                <a:gd name="connsiteX7" fmla="*/ 0 w 11969877"/>
                <a:gd name="connsiteY7" fmla="*/ 169375 h 233465"/>
                <a:gd name="connsiteX8" fmla="*/ 0 w 11969877"/>
                <a:gd name="connsiteY8" fmla="*/ 126232 h 233465"/>
                <a:gd name="connsiteX9" fmla="*/ 0 w 11969877"/>
                <a:gd name="connsiteY9" fmla="*/ 109891 h 233465"/>
                <a:gd name="connsiteX10" fmla="*/ 8695556 w 11969877"/>
                <a:gd name="connsiteY10" fmla="*/ 109891 h 233465"/>
                <a:gd name="connsiteX11" fmla="*/ 8949770 w 11969877"/>
                <a:gd name="connsiteY11" fmla="*/ 0 h 233465"/>
                <a:gd name="connsiteX0" fmla="*/ 8949770 w 11969877"/>
                <a:gd name="connsiteY0" fmla="*/ 0 h 233465"/>
                <a:gd name="connsiteX1" fmla="*/ 11969877 w 11969877"/>
                <a:gd name="connsiteY1" fmla="*/ 0 h 233465"/>
                <a:gd name="connsiteX2" fmla="*/ 11969877 w 11969877"/>
                <a:gd name="connsiteY2" fmla="*/ 233465 h 233465"/>
                <a:gd name="connsiteX3" fmla="*/ 9027859 w 11969877"/>
                <a:gd name="connsiteY3" fmla="*/ 233465 h 233465"/>
                <a:gd name="connsiteX4" fmla="*/ 1048596 w 11969877"/>
                <a:gd name="connsiteY4" fmla="*/ 233465 h 233465"/>
                <a:gd name="connsiteX5" fmla="*/ 33436 w 11969877"/>
                <a:gd name="connsiteY5" fmla="*/ 233465 h 233465"/>
                <a:gd name="connsiteX6" fmla="*/ 0 w 11969877"/>
                <a:gd name="connsiteY6" fmla="*/ 233465 h 233465"/>
                <a:gd name="connsiteX7" fmla="*/ 0 w 11969877"/>
                <a:gd name="connsiteY7" fmla="*/ 169375 h 233465"/>
                <a:gd name="connsiteX8" fmla="*/ 0 w 11969877"/>
                <a:gd name="connsiteY8" fmla="*/ 126232 h 233465"/>
                <a:gd name="connsiteX9" fmla="*/ 0 w 11969877"/>
                <a:gd name="connsiteY9" fmla="*/ 109891 h 233465"/>
                <a:gd name="connsiteX10" fmla="*/ 8708028 w 11969877"/>
                <a:gd name="connsiteY10" fmla="*/ 141641 h 233465"/>
                <a:gd name="connsiteX11" fmla="*/ 8949770 w 11969877"/>
                <a:gd name="connsiteY11" fmla="*/ 0 h 2334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1969877" h="233465">
                  <a:moveTo>
                    <a:pt x="8949770" y="0"/>
                  </a:moveTo>
                  <a:lnTo>
                    <a:pt x="11969877" y="0"/>
                  </a:lnTo>
                  <a:lnTo>
                    <a:pt x="11969877" y="233465"/>
                  </a:lnTo>
                  <a:lnTo>
                    <a:pt x="9027859" y="233465"/>
                  </a:lnTo>
                  <a:lnTo>
                    <a:pt x="1048596" y="233465"/>
                  </a:lnTo>
                  <a:lnTo>
                    <a:pt x="33436" y="233465"/>
                  </a:lnTo>
                  <a:lnTo>
                    <a:pt x="0" y="233465"/>
                  </a:lnTo>
                  <a:lnTo>
                    <a:pt x="0" y="169375"/>
                  </a:lnTo>
                  <a:lnTo>
                    <a:pt x="0" y="126232"/>
                  </a:lnTo>
                  <a:lnTo>
                    <a:pt x="0" y="109891"/>
                  </a:lnTo>
                  <a:lnTo>
                    <a:pt x="8708028" y="141641"/>
                  </a:lnTo>
                  <a:lnTo>
                    <a:pt x="8949770" y="0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n-US" sz="1800" dirty="0">
                <a:solidFill>
                  <a:schemeClr val="bg1"/>
                </a:solidFill>
              </a:endParaRPr>
            </a:p>
          </p:txBody>
        </p:sp>
        <p:sp>
          <p:nvSpPr>
            <p:cNvPr id="42" name="Freeform 4">
              <a:extLst>
                <a:ext uri="{FF2B5EF4-FFF2-40B4-BE49-F238E27FC236}">
                  <a16:creationId xmlns:a16="http://schemas.microsoft.com/office/drawing/2014/main" id="{13DF9A9F-26BE-4073-8E1D-B518CB89266F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585655" y="6620256"/>
              <a:ext cx="545655" cy="237744"/>
            </a:xfrm>
            <a:custGeom>
              <a:avLst/>
              <a:gdLst>
                <a:gd name="connsiteX0" fmla="*/ 57150 w 1790700"/>
                <a:gd name="connsiteY0" fmla="*/ 0 h 3086100"/>
                <a:gd name="connsiteX1" fmla="*/ 1790700 w 1790700"/>
                <a:gd name="connsiteY1" fmla="*/ 3086100 h 3086100"/>
                <a:gd name="connsiteX2" fmla="*/ 0 w 1790700"/>
                <a:gd name="connsiteY2" fmla="*/ 3067050 h 3086100"/>
                <a:gd name="connsiteX3" fmla="*/ 0 w 1790700"/>
                <a:gd name="connsiteY3" fmla="*/ 0 h 3086100"/>
                <a:gd name="connsiteX4" fmla="*/ 19050 w 1790700"/>
                <a:gd name="connsiteY4" fmla="*/ 38100 h 3086100"/>
                <a:gd name="connsiteX5" fmla="*/ 19050 w 1790700"/>
                <a:gd name="connsiteY5" fmla="*/ 57150 h 3086100"/>
                <a:gd name="connsiteX0" fmla="*/ 57150 w 1790700"/>
                <a:gd name="connsiteY0" fmla="*/ 0 h 3086100"/>
                <a:gd name="connsiteX1" fmla="*/ 1790700 w 1790700"/>
                <a:gd name="connsiteY1" fmla="*/ 3086100 h 3086100"/>
                <a:gd name="connsiteX2" fmla="*/ 0 w 1790700"/>
                <a:gd name="connsiteY2" fmla="*/ 3067050 h 3086100"/>
                <a:gd name="connsiteX3" fmla="*/ 0 w 1790700"/>
                <a:gd name="connsiteY3" fmla="*/ 0 h 3086100"/>
                <a:gd name="connsiteX4" fmla="*/ 19050 w 1790700"/>
                <a:gd name="connsiteY4" fmla="*/ 38100 h 3086100"/>
                <a:gd name="connsiteX0" fmla="*/ 57150 w 1790700"/>
                <a:gd name="connsiteY0" fmla="*/ 0 h 3086100"/>
                <a:gd name="connsiteX1" fmla="*/ 1790700 w 1790700"/>
                <a:gd name="connsiteY1" fmla="*/ 3086100 h 3086100"/>
                <a:gd name="connsiteX2" fmla="*/ 0 w 1790700"/>
                <a:gd name="connsiteY2" fmla="*/ 3067050 h 3086100"/>
                <a:gd name="connsiteX3" fmla="*/ 0 w 1790700"/>
                <a:gd name="connsiteY3" fmla="*/ 0 h 3086100"/>
                <a:gd name="connsiteX0" fmla="*/ 57150 w 1790700"/>
                <a:gd name="connsiteY0" fmla="*/ 0 h 3086100"/>
                <a:gd name="connsiteX1" fmla="*/ 1790700 w 1790700"/>
                <a:gd name="connsiteY1" fmla="*/ 3086100 h 3086100"/>
                <a:gd name="connsiteX2" fmla="*/ 0 w 1790700"/>
                <a:gd name="connsiteY2" fmla="*/ 3067050 h 3086100"/>
                <a:gd name="connsiteX0" fmla="*/ 0 w 1733550"/>
                <a:gd name="connsiteY0" fmla="*/ 0 h 3086100"/>
                <a:gd name="connsiteX1" fmla="*/ 1733550 w 1733550"/>
                <a:gd name="connsiteY1" fmla="*/ 3086100 h 3086100"/>
                <a:gd name="connsiteX2" fmla="*/ 613087 w 1733550"/>
                <a:gd name="connsiteY2" fmla="*/ 3077523 h 3086100"/>
                <a:gd name="connsiteX0" fmla="*/ 245654 w 1120463"/>
                <a:gd name="connsiteY0" fmla="*/ 0 h 1525705"/>
                <a:gd name="connsiteX1" fmla="*/ 1120463 w 1120463"/>
                <a:gd name="connsiteY1" fmla="*/ 1525705 h 1525705"/>
                <a:gd name="connsiteX2" fmla="*/ 0 w 1120463"/>
                <a:gd name="connsiteY2" fmla="*/ 1517128 h 1525705"/>
                <a:gd name="connsiteX0" fmla="*/ 811167 w 1120463"/>
                <a:gd name="connsiteY0" fmla="*/ 0 h 1211531"/>
                <a:gd name="connsiteX1" fmla="*/ 1120463 w 1120463"/>
                <a:gd name="connsiteY1" fmla="*/ 1211531 h 1211531"/>
                <a:gd name="connsiteX2" fmla="*/ 0 w 1120463"/>
                <a:gd name="connsiteY2" fmla="*/ 1202954 h 1211531"/>
                <a:gd name="connsiteX0" fmla="*/ 874002 w 1183298"/>
                <a:gd name="connsiteY0" fmla="*/ 0 h 1213426"/>
                <a:gd name="connsiteX1" fmla="*/ 1183298 w 1183298"/>
                <a:gd name="connsiteY1" fmla="*/ 1211531 h 1213426"/>
                <a:gd name="connsiteX2" fmla="*/ 0 w 1183298"/>
                <a:gd name="connsiteY2" fmla="*/ 1213426 h 1213426"/>
                <a:gd name="connsiteX0" fmla="*/ 857693 w 1166989"/>
                <a:gd name="connsiteY0" fmla="*/ 0 h 1213426"/>
                <a:gd name="connsiteX1" fmla="*/ 1166989 w 1166989"/>
                <a:gd name="connsiteY1" fmla="*/ 1211531 h 1213426"/>
                <a:gd name="connsiteX2" fmla="*/ 0 w 1166989"/>
                <a:gd name="connsiteY2" fmla="*/ 1213426 h 1213426"/>
                <a:gd name="connsiteX0" fmla="*/ 1062735 w 1166989"/>
                <a:gd name="connsiteY0" fmla="*/ 0 h 857667"/>
                <a:gd name="connsiteX1" fmla="*/ 1166989 w 1166989"/>
                <a:gd name="connsiteY1" fmla="*/ 855772 h 857667"/>
                <a:gd name="connsiteX2" fmla="*/ 0 w 1166989"/>
                <a:gd name="connsiteY2" fmla="*/ 857667 h 857667"/>
                <a:gd name="connsiteX0" fmla="*/ 1037104 w 1166989"/>
                <a:gd name="connsiteY0" fmla="*/ 0 h 928818"/>
                <a:gd name="connsiteX1" fmla="*/ 1166989 w 1166989"/>
                <a:gd name="connsiteY1" fmla="*/ 926923 h 928818"/>
                <a:gd name="connsiteX2" fmla="*/ 0 w 1166989"/>
                <a:gd name="connsiteY2" fmla="*/ 928818 h 928818"/>
                <a:gd name="connsiteX0" fmla="*/ 1037104 w 1037104"/>
                <a:gd name="connsiteY0" fmla="*/ 0 h 962499"/>
                <a:gd name="connsiteX1" fmla="*/ 791077 w 1037104"/>
                <a:gd name="connsiteY1" fmla="*/ 962499 h 962499"/>
                <a:gd name="connsiteX2" fmla="*/ 0 w 1037104"/>
                <a:gd name="connsiteY2" fmla="*/ 928818 h 962499"/>
                <a:gd name="connsiteX0" fmla="*/ 1037104 w 1037104"/>
                <a:gd name="connsiteY0" fmla="*/ 0 h 962499"/>
                <a:gd name="connsiteX1" fmla="*/ 791077 w 1037104"/>
                <a:gd name="connsiteY1" fmla="*/ 962499 h 962499"/>
                <a:gd name="connsiteX2" fmla="*/ 0 w 1037104"/>
                <a:gd name="connsiteY2" fmla="*/ 955031 h 962499"/>
                <a:gd name="connsiteX0" fmla="*/ 1046547 w 1046547"/>
                <a:gd name="connsiteY0" fmla="*/ 0 h 949391"/>
                <a:gd name="connsiteX1" fmla="*/ 791077 w 1046547"/>
                <a:gd name="connsiteY1" fmla="*/ 949391 h 949391"/>
                <a:gd name="connsiteX2" fmla="*/ 0 w 1046547"/>
                <a:gd name="connsiteY2" fmla="*/ 941923 h 949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046547" h="949391">
                  <a:moveTo>
                    <a:pt x="1046547" y="0"/>
                  </a:moveTo>
                  <a:lnTo>
                    <a:pt x="791077" y="949391"/>
                  </a:lnTo>
                  <a:lnTo>
                    <a:pt x="0" y="941923"/>
                  </a:lnTo>
                </a:path>
              </a:pathLst>
            </a:custGeom>
            <a:gradFill>
              <a:gsLst>
                <a:gs pos="35000">
                  <a:srgbClr val="6CC04A"/>
                </a:gs>
                <a:gs pos="100000">
                  <a:schemeClr val="bg2">
                    <a:lumMod val="60000"/>
                    <a:lumOff val="40000"/>
                  </a:schemeClr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0867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endParaRPr>
            </a:p>
          </p:txBody>
        </p:sp>
      </p:grpSp>
      <p:sp>
        <p:nvSpPr>
          <p:cNvPr id="117" name="Freeform: Shape 116">
            <a:extLst>
              <a:ext uri="{FF2B5EF4-FFF2-40B4-BE49-F238E27FC236}">
                <a16:creationId xmlns:a16="http://schemas.microsoft.com/office/drawing/2014/main" id="{E24A4945-5D5C-4CE3-AF46-3DACE44E9514}"/>
              </a:ext>
            </a:extLst>
          </p:cNvPr>
          <p:cNvSpPr/>
          <p:nvPr userDrawn="1"/>
        </p:nvSpPr>
        <p:spPr>
          <a:xfrm>
            <a:off x="10100761" y="2762"/>
            <a:ext cx="702181" cy="675861"/>
          </a:xfrm>
          <a:custGeom>
            <a:avLst/>
            <a:gdLst>
              <a:gd name="connsiteX0" fmla="*/ 219875 w 702181"/>
              <a:gd name="connsiteY0" fmla="*/ 0 h 675861"/>
              <a:gd name="connsiteX1" fmla="*/ 570965 w 702181"/>
              <a:gd name="connsiteY1" fmla="*/ 0 h 675861"/>
              <a:gd name="connsiteX2" fmla="*/ 702181 w 702181"/>
              <a:gd name="connsiteY2" fmla="*/ 183874 h 675861"/>
              <a:gd name="connsiteX3" fmla="*/ 351091 w 702181"/>
              <a:gd name="connsiteY3" fmla="*/ 675861 h 675861"/>
              <a:gd name="connsiteX4" fmla="*/ 0 w 702181"/>
              <a:gd name="connsiteY4" fmla="*/ 675861 h 675861"/>
              <a:gd name="connsiteX5" fmla="*/ 351091 w 702181"/>
              <a:gd name="connsiteY5" fmla="*/ 183874 h 675861"/>
              <a:gd name="connsiteX6" fmla="*/ 219875 w 702181"/>
              <a:gd name="connsiteY6" fmla="*/ 0 h 675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02181" h="675861">
                <a:moveTo>
                  <a:pt x="219875" y="0"/>
                </a:moveTo>
                <a:lnTo>
                  <a:pt x="570965" y="0"/>
                </a:lnTo>
                <a:lnTo>
                  <a:pt x="702181" y="183874"/>
                </a:lnTo>
                <a:lnTo>
                  <a:pt x="351091" y="675861"/>
                </a:lnTo>
                <a:lnTo>
                  <a:pt x="0" y="675861"/>
                </a:lnTo>
                <a:lnTo>
                  <a:pt x="351091" y="183874"/>
                </a:lnTo>
                <a:lnTo>
                  <a:pt x="219875" y="0"/>
                </a:lnTo>
                <a:close/>
              </a:path>
            </a:pathLst>
          </a:custGeom>
          <a:solidFill>
            <a:srgbClr val="C8C9C7">
              <a:alpha val="9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TCRaleway"/>
              <a:ea typeface="+mn-ea"/>
              <a:cs typeface="+mn-cs"/>
            </a:endParaRPr>
          </a:p>
        </p:txBody>
      </p:sp>
      <p:sp>
        <p:nvSpPr>
          <p:cNvPr id="119" name="Freeform: Shape 118">
            <a:extLst>
              <a:ext uri="{FF2B5EF4-FFF2-40B4-BE49-F238E27FC236}">
                <a16:creationId xmlns:a16="http://schemas.microsoft.com/office/drawing/2014/main" id="{A4C4021E-2657-42B7-B4E3-54880BAF86D1}"/>
              </a:ext>
            </a:extLst>
          </p:cNvPr>
          <p:cNvSpPr/>
          <p:nvPr userDrawn="1"/>
        </p:nvSpPr>
        <p:spPr>
          <a:xfrm>
            <a:off x="10586568" y="2762"/>
            <a:ext cx="702181" cy="675861"/>
          </a:xfrm>
          <a:custGeom>
            <a:avLst/>
            <a:gdLst>
              <a:gd name="connsiteX0" fmla="*/ 219875 w 702181"/>
              <a:gd name="connsiteY0" fmla="*/ 0 h 675861"/>
              <a:gd name="connsiteX1" fmla="*/ 570965 w 702181"/>
              <a:gd name="connsiteY1" fmla="*/ 0 h 675861"/>
              <a:gd name="connsiteX2" fmla="*/ 702181 w 702181"/>
              <a:gd name="connsiteY2" fmla="*/ 183874 h 675861"/>
              <a:gd name="connsiteX3" fmla="*/ 351091 w 702181"/>
              <a:gd name="connsiteY3" fmla="*/ 675861 h 675861"/>
              <a:gd name="connsiteX4" fmla="*/ 0 w 702181"/>
              <a:gd name="connsiteY4" fmla="*/ 675861 h 675861"/>
              <a:gd name="connsiteX5" fmla="*/ 351091 w 702181"/>
              <a:gd name="connsiteY5" fmla="*/ 183874 h 675861"/>
              <a:gd name="connsiteX6" fmla="*/ 219875 w 702181"/>
              <a:gd name="connsiteY6" fmla="*/ 0 h 675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02181" h="675861">
                <a:moveTo>
                  <a:pt x="219875" y="0"/>
                </a:moveTo>
                <a:lnTo>
                  <a:pt x="570965" y="0"/>
                </a:lnTo>
                <a:lnTo>
                  <a:pt x="702181" y="183874"/>
                </a:lnTo>
                <a:lnTo>
                  <a:pt x="351091" y="675861"/>
                </a:lnTo>
                <a:lnTo>
                  <a:pt x="0" y="675861"/>
                </a:lnTo>
                <a:lnTo>
                  <a:pt x="351091" y="183874"/>
                </a:lnTo>
                <a:lnTo>
                  <a:pt x="219875" y="0"/>
                </a:lnTo>
                <a:close/>
              </a:path>
            </a:pathLst>
          </a:custGeom>
          <a:solidFill>
            <a:srgbClr val="C8C9C7">
              <a:alpha val="14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TCRaleway"/>
              <a:ea typeface="+mn-ea"/>
              <a:cs typeface="+mn-cs"/>
            </a:endParaRPr>
          </a:p>
        </p:txBody>
      </p:sp>
      <p:sp>
        <p:nvSpPr>
          <p:cNvPr id="120" name="Freeform: Shape 119">
            <a:extLst>
              <a:ext uri="{FF2B5EF4-FFF2-40B4-BE49-F238E27FC236}">
                <a16:creationId xmlns:a16="http://schemas.microsoft.com/office/drawing/2014/main" id="{B002BFEA-4620-4793-90D3-45DBE94C2925}"/>
              </a:ext>
            </a:extLst>
          </p:cNvPr>
          <p:cNvSpPr/>
          <p:nvPr userDrawn="1"/>
        </p:nvSpPr>
        <p:spPr>
          <a:xfrm>
            <a:off x="11072375" y="2762"/>
            <a:ext cx="702181" cy="675861"/>
          </a:xfrm>
          <a:custGeom>
            <a:avLst/>
            <a:gdLst>
              <a:gd name="connsiteX0" fmla="*/ 219875 w 702181"/>
              <a:gd name="connsiteY0" fmla="*/ 0 h 675861"/>
              <a:gd name="connsiteX1" fmla="*/ 570965 w 702181"/>
              <a:gd name="connsiteY1" fmla="*/ 0 h 675861"/>
              <a:gd name="connsiteX2" fmla="*/ 702181 w 702181"/>
              <a:gd name="connsiteY2" fmla="*/ 183874 h 675861"/>
              <a:gd name="connsiteX3" fmla="*/ 351091 w 702181"/>
              <a:gd name="connsiteY3" fmla="*/ 675861 h 675861"/>
              <a:gd name="connsiteX4" fmla="*/ 0 w 702181"/>
              <a:gd name="connsiteY4" fmla="*/ 675861 h 675861"/>
              <a:gd name="connsiteX5" fmla="*/ 351091 w 702181"/>
              <a:gd name="connsiteY5" fmla="*/ 183874 h 675861"/>
              <a:gd name="connsiteX6" fmla="*/ 219875 w 702181"/>
              <a:gd name="connsiteY6" fmla="*/ 0 h 675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02181" h="675861">
                <a:moveTo>
                  <a:pt x="219875" y="0"/>
                </a:moveTo>
                <a:lnTo>
                  <a:pt x="570965" y="0"/>
                </a:lnTo>
                <a:lnTo>
                  <a:pt x="702181" y="183874"/>
                </a:lnTo>
                <a:lnTo>
                  <a:pt x="351091" y="675861"/>
                </a:lnTo>
                <a:lnTo>
                  <a:pt x="0" y="675861"/>
                </a:lnTo>
                <a:lnTo>
                  <a:pt x="351091" y="183874"/>
                </a:lnTo>
                <a:lnTo>
                  <a:pt x="219875" y="0"/>
                </a:lnTo>
                <a:close/>
              </a:path>
            </a:pathLst>
          </a:custGeom>
          <a:solidFill>
            <a:srgbClr val="C8C9C7">
              <a:alpha val="20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TCRaleway"/>
              <a:ea typeface="+mn-ea"/>
              <a:cs typeface="+mn-cs"/>
            </a:endParaRPr>
          </a:p>
        </p:txBody>
      </p:sp>
      <p:grpSp>
        <p:nvGrpSpPr>
          <p:cNvPr id="123" name="Graphic 42">
            <a:extLst>
              <a:ext uri="{FF2B5EF4-FFF2-40B4-BE49-F238E27FC236}">
                <a16:creationId xmlns:a16="http://schemas.microsoft.com/office/drawing/2014/main" id="{C9CE943F-D82F-4669-9376-BFAC04830ABD}"/>
              </a:ext>
            </a:extLst>
          </p:cNvPr>
          <p:cNvGrpSpPr/>
          <p:nvPr userDrawn="1"/>
        </p:nvGrpSpPr>
        <p:grpSpPr>
          <a:xfrm flipV="1">
            <a:off x="11042268" y="241617"/>
            <a:ext cx="907034" cy="112903"/>
            <a:chOff x="10978768" y="6357873"/>
            <a:chExt cx="907034" cy="112903"/>
          </a:xfrm>
          <a:solidFill>
            <a:srgbClr val="B8B7B9"/>
          </a:solidFill>
        </p:grpSpPr>
        <p:sp>
          <p:nvSpPr>
            <p:cNvPr id="133" name="Freeform: Shape 132">
              <a:extLst>
                <a:ext uri="{FF2B5EF4-FFF2-40B4-BE49-F238E27FC236}">
                  <a16:creationId xmlns:a16="http://schemas.microsoft.com/office/drawing/2014/main" id="{453F8F07-CF6E-45C8-AC20-6B8B79C580CF}"/>
                </a:ext>
              </a:extLst>
            </p:cNvPr>
            <p:cNvSpPr/>
            <p:nvPr/>
          </p:nvSpPr>
          <p:spPr>
            <a:xfrm>
              <a:off x="10978768" y="6393878"/>
              <a:ext cx="16447" cy="76898"/>
            </a:xfrm>
            <a:custGeom>
              <a:avLst/>
              <a:gdLst>
                <a:gd name="connsiteX0" fmla="*/ 0 w 16447"/>
                <a:gd name="connsiteY0" fmla="*/ 76899 h 76898"/>
                <a:gd name="connsiteX1" fmla="*/ 0 w 16447"/>
                <a:gd name="connsiteY1" fmla="*/ 0 h 76898"/>
                <a:gd name="connsiteX2" fmla="*/ 16447 w 16447"/>
                <a:gd name="connsiteY2" fmla="*/ 0 h 76898"/>
                <a:gd name="connsiteX3" fmla="*/ 16447 w 16447"/>
                <a:gd name="connsiteY3" fmla="*/ 76899 h 76898"/>
                <a:gd name="connsiteX4" fmla="*/ 0 w 16447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7" h="76898">
                  <a:moveTo>
                    <a:pt x="0" y="76899"/>
                  </a:moveTo>
                  <a:lnTo>
                    <a:pt x="0" y="0"/>
                  </a:lnTo>
                  <a:lnTo>
                    <a:pt x="16447" y="0"/>
                  </a:lnTo>
                  <a:lnTo>
                    <a:pt x="16447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34" name="Freeform: Shape 133">
              <a:extLst>
                <a:ext uri="{FF2B5EF4-FFF2-40B4-BE49-F238E27FC236}">
                  <a16:creationId xmlns:a16="http://schemas.microsoft.com/office/drawing/2014/main" id="{CED4C5C8-A7FC-4FB8-8D39-41B48E71D318}"/>
                </a:ext>
              </a:extLst>
            </p:cNvPr>
            <p:cNvSpPr/>
            <p:nvPr/>
          </p:nvSpPr>
          <p:spPr>
            <a:xfrm>
              <a:off x="11041824" y="6393878"/>
              <a:ext cx="16446" cy="76898"/>
            </a:xfrm>
            <a:custGeom>
              <a:avLst/>
              <a:gdLst>
                <a:gd name="connsiteX0" fmla="*/ 0 w 16446"/>
                <a:gd name="connsiteY0" fmla="*/ 76899 h 76898"/>
                <a:gd name="connsiteX1" fmla="*/ 0 w 16446"/>
                <a:gd name="connsiteY1" fmla="*/ 0 h 76898"/>
                <a:gd name="connsiteX2" fmla="*/ 16446 w 16446"/>
                <a:gd name="connsiteY2" fmla="*/ 0 h 76898"/>
                <a:gd name="connsiteX3" fmla="*/ 16446 w 16446"/>
                <a:gd name="connsiteY3" fmla="*/ 76899 h 76898"/>
                <a:gd name="connsiteX4" fmla="*/ 0 w 16446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6" h="76898">
                  <a:moveTo>
                    <a:pt x="0" y="76899"/>
                  </a:moveTo>
                  <a:lnTo>
                    <a:pt x="0" y="0"/>
                  </a:lnTo>
                  <a:lnTo>
                    <a:pt x="16446" y="0"/>
                  </a:lnTo>
                  <a:lnTo>
                    <a:pt x="16446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35" name="Freeform: Shape 134">
              <a:extLst>
                <a:ext uri="{FF2B5EF4-FFF2-40B4-BE49-F238E27FC236}">
                  <a16:creationId xmlns:a16="http://schemas.microsoft.com/office/drawing/2014/main" id="{3875CC80-2EE3-44A2-AB9F-821C5BE5D095}"/>
                </a:ext>
              </a:extLst>
            </p:cNvPr>
            <p:cNvSpPr/>
            <p:nvPr/>
          </p:nvSpPr>
          <p:spPr>
            <a:xfrm>
              <a:off x="11104880" y="6393878"/>
              <a:ext cx="16446" cy="76898"/>
            </a:xfrm>
            <a:custGeom>
              <a:avLst/>
              <a:gdLst>
                <a:gd name="connsiteX0" fmla="*/ 0 w 16446"/>
                <a:gd name="connsiteY0" fmla="*/ 76899 h 76898"/>
                <a:gd name="connsiteX1" fmla="*/ 0 w 16446"/>
                <a:gd name="connsiteY1" fmla="*/ 0 h 76898"/>
                <a:gd name="connsiteX2" fmla="*/ 16446 w 16446"/>
                <a:gd name="connsiteY2" fmla="*/ 0 h 76898"/>
                <a:gd name="connsiteX3" fmla="*/ 16446 w 16446"/>
                <a:gd name="connsiteY3" fmla="*/ 76899 h 76898"/>
                <a:gd name="connsiteX4" fmla="*/ 0 w 16446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6" h="76898">
                  <a:moveTo>
                    <a:pt x="0" y="76899"/>
                  </a:moveTo>
                  <a:lnTo>
                    <a:pt x="0" y="0"/>
                  </a:lnTo>
                  <a:lnTo>
                    <a:pt x="16446" y="0"/>
                  </a:lnTo>
                  <a:lnTo>
                    <a:pt x="16446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36" name="Freeform: Shape 135">
              <a:extLst>
                <a:ext uri="{FF2B5EF4-FFF2-40B4-BE49-F238E27FC236}">
                  <a16:creationId xmlns:a16="http://schemas.microsoft.com/office/drawing/2014/main" id="{CA54CFE8-6216-4380-A4C8-B1D07F3A1D94}"/>
                </a:ext>
              </a:extLst>
            </p:cNvPr>
            <p:cNvSpPr/>
            <p:nvPr/>
          </p:nvSpPr>
          <p:spPr>
            <a:xfrm>
              <a:off x="11167998" y="6357873"/>
              <a:ext cx="16382" cy="112903"/>
            </a:xfrm>
            <a:custGeom>
              <a:avLst/>
              <a:gdLst>
                <a:gd name="connsiteX0" fmla="*/ 0 w 16382"/>
                <a:gd name="connsiteY0" fmla="*/ 112903 h 112903"/>
                <a:gd name="connsiteX1" fmla="*/ 0 w 16382"/>
                <a:gd name="connsiteY1" fmla="*/ 0 h 112903"/>
                <a:gd name="connsiteX2" fmla="*/ 16383 w 16382"/>
                <a:gd name="connsiteY2" fmla="*/ 0 h 112903"/>
                <a:gd name="connsiteX3" fmla="*/ 16383 w 16382"/>
                <a:gd name="connsiteY3" fmla="*/ 112903 h 112903"/>
                <a:gd name="connsiteX4" fmla="*/ 0 w 16382"/>
                <a:gd name="connsiteY4" fmla="*/ 112903 h 1129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82" h="112903">
                  <a:moveTo>
                    <a:pt x="0" y="112903"/>
                  </a:moveTo>
                  <a:lnTo>
                    <a:pt x="0" y="0"/>
                  </a:lnTo>
                  <a:lnTo>
                    <a:pt x="16383" y="0"/>
                  </a:lnTo>
                  <a:lnTo>
                    <a:pt x="16383" y="112903"/>
                  </a:lnTo>
                  <a:lnTo>
                    <a:pt x="0" y="112903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37" name="Freeform: Shape 136">
              <a:extLst>
                <a:ext uri="{FF2B5EF4-FFF2-40B4-BE49-F238E27FC236}">
                  <a16:creationId xmlns:a16="http://schemas.microsoft.com/office/drawing/2014/main" id="{2DEB6F89-07F4-4D3B-AB30-B973E58262D7}"/>
                </a:ext>
              </a:extLst>
            </p:cNvPr>
            <p:cNvSpPr/>
            <p:nvPr/>
          </p:nvSpPr>
          <p:spPr>
            <a:xfrm>
              <a:off x="11233594" y="6393878"/>
              <a:ext cx="16447" cy="76898"/>
            </a:xfrm>
            <a:custGeom>
              <a:avLst/>
              <a:gdLst>
                <a:gd name="connsiteX0" fmla="*/ 0 w 16447"/>
                <a:gd name="connsiteY0" fmla="*/ 76899 h 76898"/>
                <a:gd name="connsiteX1" fmla="*/ 0 w 16447"/>
                <a:gd name="connsiteY1" fmla="*/ 0 h 76898"/>
                <a:gd name="connsiteX2" fmla="*/ 16447 w 16447"/>
                <a:gd name="connsiteY2" fmla="*/ 0 h 76898"/>
                <a:gd name="connsiteX3" fmla="*/ 16447 w 16447"/>
                <a:gd name="connsiteY3" fmla="*/ 76899 h 76898"/>
                <a:gd name="connsiteX4" fmla="*/ 0 w 16447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7" h="76898">
                  <a:moveTo>
                    <a:pt x="0" y="76899"/>
                  </a:moveTo>
                  <a:lnTo>
                    <a:pt x="0" y="0"/>
                  </a:lnTo>
                  <a:lnTo>
                    <a:pt x="16447" y="0"/>
                  </a:lnTo>
                  <a:lnTo>
                    <a:pt x="16447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38" name="Freeform: Shape 137">
              <a:extLst>
                <a:ext uri="{FF2B5EF4-FFF2-40B4-BE49-F238E27FC236}">
                  <a16:creationId xmlns:a16="http://schemas.microsoft.com/office/drawing/2014/main" id="{87673452-EAA0-4D54-9838-821974179A52}"/>
                </a:ext>
              </a:extLst>
            </p:cNvPr>
            <p:cNvSpPr/>
            <p:nvPr/>
          </p:nvSpPr>
          <p:spPr>
            <a:xfrm>
              <a:off x="11488419" y="6393878"/>
              <a:ext cx="16447" cy="76898"/>
            </a:xfrm>
            <a:custGeom>
              <a:avLst/>
              <a:gdLst>
                <a:gd name="connsiteX0" fmla="*/ 0 w 16447"/>
                <a:gd name="connsiteY0" fmla="*/ 76899 h 76898"/>
                <a:gd name="connsiteX1" fmla="*/ 0 w 16447"/>
                <a:gd name="connsiteY1" fmla="*/ 0 h 76898"/>
                <a:gd name="connsiteX2" fmla="*/ 16447 w 16447"/>
                <a:gd name="connsiteY2" fmla="*/ 0 h 76898"/>
                <a:gd name="connsiteX3" fmla="*/ 16447 w 16447"/>
                <a:gd name="connsiteY3" fmla="*/ 76899 h 76898"/>
                <a:gd name="connsiteX4" fmla="*/ 0 w 16447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7" h="76898">
                  <a:moveTo>
                    <a:pt x="0" y="76899"/>
                  </a:moveTo>
                  <a:lnTo>
                    <a:pt x="0" y="0"/>
                  </a:lnTo>
                  <a:lnTo>
                    <a:pt x="16447" y="0"/>
                  </a:lnTo>
                  <a:lnTo>
                    <a:pt x="16447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39" name="Freeform: Shape 138">
              <a:extLst>
                <a:ext uri="{FF2B5EF4-FFF2-40B4-BE49-F238E27FC236}">
                  <a16:creationId xmlns:a16="http://schemas.microsoft.com/office/drawing/2014/main" id="{90AC6EB6-1C9C-4556-8400-349BEA629D3A}"/>
                </a:ext>
              </a:extLst>
            </p:cNvPr>
            <p:cNvSpPr/>
            <p:nvPr/>
          </p:nvSpPr>
          <p:spPr>
            <a:xfrm>
              <a:off x="11743245" y="6393878"/>
              <a:ext cx="16447" cy="76898"/>
            </a:xfrm>
            <a:custGeom>
              <a:avLst/>
              <a:gdLst>
                <a:gd name="connsiteX0" fmla="*/ 0 w 16447"/>
                <a:gd name="connsiteY0" fmla="*/ 76899 h 76898"/>
                <a:gd name="connsiteX1" fmla="*/ 0 w 16447"/>
                <a:gd name="connsiteY1" fmla="*/ 0 h 76898"/>
                <a:gd name="connsiteX2" fmla="*/ 16447 w 16447"/>
                <a:gd name="connsiteY2" fmla="*/ 0 h 76898"/>
                <a:gd name="connsiteX3" fmla="*/ 16447 w 16447"/>
                <a:gd name="connsiteY3" fmla="*/ 76899 h 76898"/>
                <a:gd name="connsiteX4" fmla="*/ 0 w 16447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7" h="76898">
                  <a:moveTo>
                    <a:pt x="0" y="76899"/>
                  </a:moveTo>
                  <a:lnTo>
                    <a:pt x="0" y="0"/>
                  </a:lnTo>
                  <a:lnTo>
                    <a:pt x="16447" y="0"/>
                  </a:lnTo>
                  <a:lnTo>
                    <a:pt x="16447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40" name="Freeform: Shape 139">
              <a:extLst>
                <a:ext uri="{FF2B5EF4-FFF2-40B4-BE49-F238E27FC236}">
                  <a16:creationId xmlns:a16="http://schemas.microsoft.com/office/drawing/2014/main" id="{799D2756-4A52-4726-8D71-E99F167C5929}"/>
                </a:ext>
              </a:extLst>
            </p:cNvPr>
            <p:cNvSpPr/>
            <p:nvPr/>
          </p:nvSpPr>
          <p:spPr>
            <a:xfrm>
              <a:off x="11296650" y="6393878"/>
              <a:ext cx="16446" cy="76898"/>
            </a:xfrm>
            <a:custGeom>
              <a:avLst/>
              <a:gdLst>
                <a:gd name="connsiteX0" fmla="*/ 0 w 16446"/>
                <a:gd name="connsiteY0" fmla="*/ 76899 h 76898"/>
                <a:gd name="connsiteX1" fmla="*/ 0 w 16446"/>
                <a:gd name="connsiteY1" fmla="*/ 0 h 76898"/>
                <a:gd name="connsiteX2" fmla="*/ 16446 w 16446"/>
                <a:gd name="connsiteY2" fmla="*/ 0 h 76898"/>
                <a:gd name="connsiteX3" fmla="*/ 16446 w 16446"/>
                <a:gd name="connsiteY3" fmla="*/ 76899 h 76898"/>
                <a:gd name="connsiteX4" fmla="*/ 0 w 16446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6" h="76898">
                  <a:moveTo>
                    <a:pt x="0" y="76899"/>
                  </a:moveTo>
                  <a:lnTo>
                    <a:pt x="0" y="0"/>
                  </a:lnTo>
                  <a:lnTo>
                    <a:pt x="16446" y="0"/>
                  </a:lnTo>
                  <a:lnTo>
                    <a:pt x="16446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41" name="Freeform: Shape 140">
              <a:extLst>
                <a:ext uri="{FF2B5EF4-FFF2-40B4-BE49-F238E27FC236}">
                  <a16:creationId xmlns:a16="http://schemas.microsoft.com/office/drawing/2014/main" id="{AA3E8461-8537-49BD-B1CD-2CA140B8BF1F}"/>
                </a:ext>
              </a:extLst>
            </p:cNvPr>
            <p:cNvSpPr/>
            <p:nvPr/>
          </p:nvSpPr>
          <p:spPr>
            <a:xfrm>
              <a:off x="11551475" y="6393878"/>
              <a:ext cx="16446" cy="76898"/>
            </a:xfrm>
            <a:custGeom>
              <a:avLst/>
              <a:gdLst>
                <a:gd name="connsiteX0" fmla="*/ 0 w 16446"/>
                <a:gd name="connsiteY0" fmla="*/ 76899 h 76898"/>
                <a:gd name="connsiteX1" fmla="*/ 0 w 16446"/>
                <a:gd name="connsiteY1" fmla="*/ 0 h 76898"/>
                <a:gd name="connsiteX2" fmla="*/ 16446 w 16446"/>
                <a:gd name="connsiteY2" fmla="*/ 0 h 76898"/>
                <a:gd name="connsiteX3" fmla="*/ 16446 w 16446"/>
                <a:gd name="connsiteY3" fmla="*/ 76899 h 76898"/>
                <a:gd name="connsiteX4" fmla="*/ 0 w 16446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6" h="76898">
                  <a:moveTo>
                    <a:pt x="0" y="76899"/>
                  </a:moveTo>
                  <a:lnTo>
                    <a:pt x="0" y="0"/>
                  </a:lnTo>
                  <a:lnTo>
                    <a:pt x="16446" y="0"/>
                  </a:lnTo>
                  <a:lnTo>
                    <a:pt x="16446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42" name="Freeform: Shape 141">
              <a:extLst>
                <a:ext uri="{FF2B5EF4-FFF2-40B4-BE49-F238E27FC236}">
                  <a16:creationId xmlns:a16="http://schemas.microsoft.com/office/drawing/2014/main" id="{8B9D7C9B-8424-4A76-9E58-BA4DF16F73C4}"/>
                </a:ext>
              </a:extLst>
            </p:cNvPr>
            <p:cNvSpPr/>
            <p:nvPr/>
          </p:nvSpPr>
          <p:spPr>
            <a:xfrm>
              <a:off x="11806301" y="6393878"/>
              <a:ext cx="16446" cy="76898"/>
            </a:xfrm>
            <a:custGeom>
              <a:avLst/>
              <a:gdLst>
                <a:gd name="connsiteX0" fmla="*/ 0 w 16446"/>
                <a:gd name="connsiteY0" fmla="*/ 76899 h 76898"/>
                <a:gd name="connsiteX1" fmla="*/ 0 w 16446"/>
                <a:gd name="connsiteY1" fmla="*/ 0 h 76898"/>
                <a:gd name="connsiteX2" fmla="*/ 16446 w 16446"/>
                <a:gd name="connsiteY2" fmla="*/ 0 h 76898"/>
                <a:gd name="connsiteX3" fmla="*/ 16446 w 16446"/>
                <a:gd name="connsiteY3" fmla="*/ 76899 h 76898"/>
                <a:gd name="connsiteX4" fmla="*/ 0 w 16446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6" h="76898">
                  <a:moveTo>
                    <a:pt x="0" y="76899"/>
                  </a:moveTo>
                  <a:lnTo>
                    <a:pt x="0" y="0"/>
                  </a:lnTo>
                  <a:lnTo>
                    <a:pt x="16446" y="0"/>
                  </a:lnTo>
                  <a:lnTo>
                    <a:pt x="16446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43" name="Freeform: Shape 142">
              <a:extLst>
                <a:ext uri="{FF2B5EF4-FFF2-40B4-BE49-F238E27FC236}">
                  <a16:creationId xmlns:a16="http://schemas.microsoft.com/office/drawing/2014/main" id="{A38571FC-9C89-46B5-8ACE-9F8A6C07C555}"/>
                </a:ext>
              </a:extLst>
            </p:cNvPr>
            <p:cNvSpPr/>
            <p:nvPr/>
          </p:nvSpPr>
          <p:spPr>
            <a:xfrm>
              <a:off x="11359705" y="6393878"/>
              <a:ext cx="16446" cy="76898"/>
            </a:xfrm>
            <a:custGeom>
              <a:avLst/>
              <a:gdLst>
                <a:gd name="connsiteX0" fmla="*/ 0 w 16446"/>
                <a:gd name="connsiteY0" fmla="*/ 76899 h 76898"/>
                <a:gd name="connsiteX1" fmla="*/ 0 w 16446"/>
                <a:gd name="connsiteY1" fmla="*/ 0 h 76898"/>
                <a:gd name="connsiteX2" fmla="*/ 16446 w 16446"/>
                <a:gd name="connsiteY2" fmla="*/ 0 h 76898"/>
                <a:gd name="connsiteX3" fmla="*/ 16446 w 16446"/>
                <a:gd name="connsiteY3" fmla="*/ 76899 h 76898"/>
                <a:gd name="connsiteX4" fmla="*/ 0 w 16446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6" h="76898">
                  <a:moveTo>
                    <a:pt x="0" y="76899"/>
                  </a:moveTo>
                  <a:lnTo>
                    <a:pt x="0" y="0"/>
                  </a:lnTo>
                  <a:lnTo>
                    <a:pt x="16446" y="0"/>
                  </a:lnTo>
                  <a:lnTo>
                    <a:pt x="16446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44" name="Freeform: Shape 143">
              <a:extLst>
                <a:ext uri="{FF2B5EF4-FFF2-40B4-BE49-F238E27FC236}">
                  <a16:creationId xmlns:a16="http://schemas.microsoft.com/office/drawing/2014/main" id="{AE89493A-0CA0-47AE-84F9-23996CC80A99}"/>
                </a:ext>
              </a:extLst>
            </p:cNvPr>
            <p:cNvSpPr/>
            <p:nvPr/>
          </p:nvSpPr>
          <p:spPr>
            <a:xfrm>
              <a:off x="11614594" y="6393878"/>
              <a:ext cx="16383" cy="76898"/>
            </a:xfrm>
            <a:custGeom>
              <a:avLst/>
              <a:gdLst>
                <a:gd name="connsiteX0" fmla="*/ 0 w 16383"/>
                <a:gd name="connsiteY0" fmla="*/ 76899 h 76898"/>
                <a:gd name="connsiteX1" fmla="*/ 0 w 16383"/>
                <a:gd name="connsiteY1" fmla="*/ 0 h 76898"/>
                <a:gd name="connsiteX2" fmla="*/ 16383 w 16383"/>
                <a:gd name="connsiteY2" fmla="*/ 0 h 76898"/>
                <a:gd name="connsiteX3" fmla="*/ 16383 w 16383"/>
                <a:gd name="connsiteY3" fmla="*/ 76899 h 76898"/>
                <a:gd name="connsiteX4" fmla="*/ 0 w 16383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83" h="76898">
                  <a:moveTo>
                    <a:pt x="0" y="76899"/>
                  </a:moveTo>
                  <a:lnTo>
                    <a:pt x="0" y="0"/>
                  </a:lnTo>
                  <a:lnTo>
                    <a:pt x="16383" y="0"/>
                  </a:lnTo>
                  <a:lnTo>
                    <a:pt x="16383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45" name="Freeform: Shape 144">
              <a:extLst>
                <a:ext uri="{FF2B5EF4-FFF2-40B4-BE49-F238E27FC236}">
                  <a16:creationId xmlns:a16="http://schemas.microsoft.com/office/drawing/2014/main" id="{C865DC70-EE04-478F-B674-FEF9458E11FF}"/>
                </a:ext>
              </a:extLst>
            </p:cNvPr>
            <p:cNvSpPr/>
            <p:nvPr/>
          </p:nvSpPr>
          <p:spPr>
            <a:xfrm>
              <a:off x="11869419" y="6393878"/>
              <a:ext cx="16383" cy="76898"/>
            </a:xfrm>
            <a:custGeom>
              <a:avLst/>
              <a:gdLst>
                <a:gd name="connsiteX0" fmla="*/ 0 w 16383"/>
                <a:gd name="connsiteY0" fmla="*/ 76899 h 76898"/>
                <a:gd name="connsiteX1" fmla="*/ 0 w 16383"/>
                <a:gd name="connsiteY1" fmla="*/ 0 h 76898"/>
                <a:gd name="connsiteX2" fmla="*/ 16383 w 16383"/>
                <a:gd name="connsiteY2" fmla="*/ 0 h 76898"/>
                <a:gd name="connsiteX3" fmla="*/ 16383 w 16383"/>
                <a:gd name="connsiteY3" fmla="*/ 76899 h 76898"/>
                <a:gd name="connsiteX4" fmla="*/ 0 w 16383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83" h="76898">
                  <a:moveTo>
                    <a:pt x="0" y="76899"/>
                  </a:moveTo>
                  <a:lnTo>
                    <a:pt x="0" y="0"/>
                  </a:lnTo>
                  <a:lnTo>
                    <a:pt x="16383" y="0"/>
                  </a:lnTo>
                  <a:lnTo>
                    <a:pt x="16383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46" name="Freeform: Shape 145">
              <a:extLst>
                <a:ext uri="{FF2B5EF4-FFF2-40B4-BE49-F238E27FC236}">
                  <a16:creationId xmlns:a16="http://schemas.microsoft.com/office/drawing/2014/main" id="{D997C624-2682-4B08-9D15-7BFC41ADE59B}"/>
                </a:ext>
              </a:extLst>
            </p:cNvPr>
            <p:cNvSpPr/>
            <p:nvPr/>
          </p:nvSpPr>
          <p:spPr>
            <a:xfrm>
              <a:off x="11422824" y="6357873"/>
              <a:ext cx="16382" cy="112903"/>
            </a:xfrm>
            <a:custGeom>
              <a:avLst/>
              <a:gdLst>
                <a:gd name="connsiteX0" fmla="*/ 0 w 16382"/>
                <a:gd name="connsiteY0" fmla="*/ 112903 h 112903"/>
                <a:gd name="connsiteX1" fmla="*/ 0 w 16382"/>
                <a:gd name="connsiteY1" fmla="*/ 0 h 112903"/>
                <a:gd name="connsiteX2" fmla="*/ 16383 w 16382"/>
                <a:gd name="connsiteY2" fmla="*/ 0 h 112903"/>
                <a:gd name="connsiteX3" fmla="*/ 16383 w 16382"/>
                <a:gd name="connsiteY3" fmla="*/ 112903 h 112903"/>
                <a:gd name="connsiteX4" fmla="*/ 0 w 16382"/>
                <a:gd name="connsiteY4" fmla="*/ 112903 h 1129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82" h="112903">
                  <a:moveTo>
                    <a:pt x="0" y="112903"/>
                  </a:moveTo>
                  <a:lnTo>
                    <a:pt x="0" y="0"/>
                  </a:lnTo>
                  <a:lnTo>
                    <a:pt x="16383" y="0"/>
                  </a:lnTo>
                  <a:lnTo>
                    <a:pt x="16383" y="112903"/>
                  </a:lnTo>
                  <a:lnTo>
                    <a:pt x="0" y="112903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47" name="Freeform: Shape 146">
              <a:extLst>
                <a:ext uri="{FF2B5EF4-FFF2-40B4-BE49-F238E27FC236}">
                  <a16:creationId xmlns:a16="http://schemas.microsoft.com/office/drawing/2014/main" id="{A5DD6C8D-6AAB-498F-85B3-83F734278836}"/>
                </a:ext>
              </a:extLst>
            </p:cNvPr>
            <p:cNvSpPr/>
            <p:nvPr/>
          </p:nvSpPr>
          <p:spPr>
            <a:xfrm>
              <a:off x="11677650" y="6357873"/>
              <a:ext cx="16446" cy="112903"/>
            </a:xfrm>
            <a:custGeom>
              <a:avLst/>
              <a:gdLst>
                <a:gd name="connsiteX0" fmla="*/ 0 w 16446"/>
                <a:gd name="connsiteY0" fmla="*/ 112903 h 112903"/>
                <a:gd name="connsiteX1" fmla="*/ 0 w 16446"/>
                <a:gd name="connsiteY1" fmla="*/ 0 h 112903"/>
                <a:gd name="connsiteX2" fmla="*/ 16446 w 16446"/>
                <a:gd name="connsiteY2" fmla="*/ 0 h 112903"/>
                <a:gd name="connsiteX3" fmla="*/ 16446 w 16446"/>
                <a:gd name="connsiteY3" fmla="*/ 112903 h 112903"/>
                <a:gd name="connsiteX4" fmla="*/ 0 w 16446"/>
                <a:gd name="connsiteY4" fmla="*/ 112903 h 1129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6" h="112903">
                  <a:moveTo>
                    <a:pt x="0" y="112903"/>
                  </a:moveTo>
                  <a:lnTo>
                    <a:pt x="0" y="0"/>
                  </a:lnTo>
                  <a:lnTo>
                    <a:pt x="16446" y="0"/>
                  </a:lnTo>
                  <a:lnTo>
                    <a:pt x="16446" y="112903"/>
                  </a:lnTo>
                  <a:lnTo>
                    <a:pt x="0" y="112903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124" name="Freeform: Shape 123">
            <a:extLst>
              <a:ext uri="{FF2B5EF4-FFF2-40B4-BE49-F238E27FC236}">
                <a16:creationId xmlns:a16="http://schemas.microsoft.com/office/drawing/2014/main" id="{B86A8B70-71D7-4C00-B48D-B0410F86AB4B}"/>
              </a:ext>
            </a:extLst>
          </p:cNvPr>
          <p:cNvSpPr/>
          <p:nvPr userDrawn="1"/>
        </p:nvSpPr>
        <p:spPr>
          <a:xfrm rot="5400000" flipV="1">
            <a:off x="11916016" y="398907"/>
            <a:ext cx="43688" cy="43687"/>
          </a:xfrm>
          <a:custGeom>
            <a:avLst/>
            <a:gdLst>
              <a:gd name="connsiteX0" fmla="*/ 0 w 43688"/>
              <a:gd name="connsiteY0" fmla="*/ 0 h 43687"/>
              <a:gd name="connsiteX1" fmla="*/ 43688 w 43688"/>
              <a:gd name="connsiteY1" fmla="*/ 0 h 43687"/>
              <a:gd name="connsiteX2" fmla="*/ 43688 w 43688"/>
              <a:gd name="connsiteY2" fmla="*/ 43688 h 43687"/>
              <a:gd name="connsiteX3" fmla="*/ 0 w 43688"/>
              <a:gd name="connsiteY3" fmla="*/ 43688 h 436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3688" h="43687">
                <a:moveTo>
                  <a:pt x="0" y="0"/>
                </a:moveTo>
                <a:lnTo>
                  <a:pt x="43688" y="0"/>
                </a:lnTo>
                <a:lnTo>
                  <a:pt x="43688" y="43688"/>
                </a:lnTo>
                <a:lnTo>
                  <a:pt x="0" y="43688"/>
                </a:lnTo>
                <a:close/>
              </a:path>
            </a:pathLst>
          </a:custGeom>
          <a:noFill/>
          <a:ln w="3175" cap="flat">
            <a:solidFill>
              <a:srgbClr val="FFFFFF">
                <a:lumMod val="50000"/>
              </a:srgbClr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3D4647"/>
              </a:solidFill>
              <a:effectLst/>
              <a:uLnTx/>
              <a:uFillTx/>
            </a:endParaRPr>
          </a:p>
        </p:txBody>
      </p:sp>
      <p:grpSp>
        <p:nvGrpSpPr>
          <p:cNvPr id="125" name="Graphic 42">
            <a:extLst>
              <a:ext uri="{FF2B5EF4-FFF2-40B4-BE49-F238E27FC236}">
                <a16:creationId xmlns:a16="http://schemas.microsoft.com/office/drawing/2014/main" id="{79F87CE9-05CD-4B99-9848-6C33FEA9AF91}"/>
              </a:ext>
            </a:extLst>
          </p:cNvPr>
          <p:cNvGrpSpPr/>
          <p:nvPr userDrawn="1"/>
        </p:nvGrpSpPr>
        <p:grpSpPr>
          <a:xfrm flipV="1">
            <a:off x="11901678" y="510222"/>
            <a:ext cx="73152" cy="410654"/>
            <a:chOff x="11838178" y="5791517"/>
            <a:chExt cx="73152" cy="410654"/>
          </a:xfrm>
          <a:solidFill>
            <a:srgbClr val="FFFFFF">
              <a:lumMod val="50000"/>
            </a:srgbClr>
          </a:solidFill>
        </p:grpSpPr>
        <p:grpSp>
          <p:nvGrpSpPr>
            <p:cNvPr id="126" name="Graphic 42">
              <a:extLst>
                <a:ext uri="{FF2B5EF4-FFF2-40B4-BE49-F238E27FC236}">
                  <a16:creationId xmlns:a16="http://schemas.microsoft.com/office/drawing/2014/main" id="{FA297456-6C40-4A91-986C-614EE79FB8E7}"/>
                </a:ext>
              </a:extLst>
            </p:cNvPr>
            <p:cNvGrpSpPr/>
            <p:nvPr/>
          </p:nvGrpSpPr>
          <p:grpSpPr>
            <a:xfrm>
              <a:off x="11854497" y="5791517"/>
              <a:ext cx="42418" cy="282892"/>
              <a:chOff x="11854497" y="5791517"/>
              <a:chExt cx="42418" cy="282892"/>
            </a:xfrm>
            <a:grpFill/>
          </p:grpSpPr>
          <p:sp>
            <p:nvSpPr>
              <p:cNvPr id="128" name="Freeform: Shape 127">
                <a:extLst>
                  <a:ext uri="{FF2B5EF4-FFF2-40B4-BE49-F238E27FC236}">
                    <a16:creationId xmlns:a16="http://schemas.microsoft.com/office/drawing/2014/main" id="{55ACF6A1-756F-4E15-AC83-CBAC518A9533}"/>
                  </a:ext>
                </a:extLst>
              </p:cNvPr>
              <p:cNvSpPr/>
              <p:nvPr/>
            </p:nvSpPr>
            <p:spPr>
              <a:xfrm>
                <a:off x="11855259" y="5891022"/>
                <a:ext cx="41655" cy="4381"/>
              </a:xfrm>
              <a:custGeom>
                <a:avLst/>
                <a:gdLst>
                  <a:gd name="connsiteX0" fmla="*/ 0 w 41655"/>
                  <a:gd name="connsiteY0" fmla="*/ 0 h 4381"/>
                  <a:gd name="connsiteX1" fmla="*/ 41656 w 41655"/>
                  <a:gd name="connsiteY1" fmla="*/ 0 h 4381"/>
                  <a:gd name="connsiteX2" fmla="*/ 41656 w 41655"/>
                  <a:gd name="connsiteY2" fmla="*/ 4381 h 4381"/>
                  <a:gd name="connsiteX3" fmla="*/ 0 w 41655"/>
                  <a:gd name="connsiteY3" fmla="*/ 4381 h 43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655" h="4381">
                    <a:moveTo>
                      <a:pt x="0" y="0"/>
                    </a:moveTo>
                    <a:lnTo>
                      <a:pt x="41656" y="0"/>
                    </a:lnTo>
                    <a:lnTo>
                      <a:pt x="41656" y="4381"/>
                    </a:lnTo>
                    <a:lnTo>
                      <a:pt x="0" y="4381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9" name="Freeform: Shape 128">
                <a:extLst>
                  <a:ext uri="{FF2B5EF4-FFF2-40B4-BE49-F238E27FC236}">
                    <a16:creationId xmlns:a16="http://schemas.microsoft.com/office/drawing/2014/main" id="{EA354376-FA52-4C1E-B7E9-F6417BA2E92E}"/>
                  </a:ext>
                </a:extLst>
              </p:cNvPr>
              <p:cNvSpPr/>
              <p:nvPr/>
            </p:nvSpPr>
            <p:spPr>
              <a:xfrm>
                <a:off x="11855259" y="5955538"/>
                <a:ext cx="41655" cy="4381"/>
              </a:xfrm>
              <a:custGeom>
                <a:avLst/>
                <a:gdLst>
                  <a:gd name="connsiteX0" fmla="*/ 0 w 41655"/>
                  <a:gd name="connsiteY0" fmla="*/ 0 h 4381"/>
                  <a:gd name="connsiteX1" fmla="*/ 41656 w 41655"/>
                  <a:gd name="connsiteY1" fmla="*/ 0 h 4381"/>
                  <a:gd name="connsiteX2" fmla="*/ 41656 w 41655"/>
                  <a:gd name="connsiteY2" fmla="*/ 4382 h 4381"/>
                  <a:gd name="connsiteX3" fmla="*/ 0 w 41655"/>
                  <a:gd name="connsiteY3" fmla="*/ 4382 h 43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655" h="4381">
                    <a:moveTo>
                      <a:pt x="0" y="0"/>
                    </a:moveTo>
                    <a:lnTo>
                      <a:pt x="41656" y="0"/>
                    </a:lnTo>
                    <a:lnTo>
                      <a:pt x="41656" y="4382"/>
                    </a:lnTo>
                    <a:lnTo>
                      <a:pt x="0" y="4382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0" name="Freeform: Shape 129">
                <a:extLst>
                  <a:ext uri="{FF2B5EF4-FFF2-40B4-BE49-F238E27FC236}">
                    <a16:creationId xmlns:a16="http://schemas.microsoft.com/office/drawing/2014/main" id="{7FADCCA1-0EFD-4333-AC19-FADC0B2CC096}"/>
                  </a:ext>
                </a:extLst>
              </p:cNvPr>
              <p:cNvSpPr/>
              <p:nvPr/>
            </p:nvSpPr>
            <p:spPr>
              <a:xfrm>
                <a:off x="11855259" y="6011545"/>
                <a:ext cx="41655" cy="4381"/>
              </a:xfrm>
              <a:custGeom>
                <a:avLst/>
                <a:gdLst>
                  <a:gd name="connsiteX0" fmla="*/ 0 w 41655"/>
                  <a:gd name="connsiteY0" fmla="*/ 0 h 4381"/>
                  <a:gd name="connsiteX1" fmla="*/ 41656 w 41655"/>
                  <a:gd name="connsiteY1" fmla="*/ 0 h 4381"/>
                  <a:gd name="connsiteX2" fmla="*/ 41656 w 41655"/>
                  <a:gd name="connsiteY2" fmla="*/ 4382 h 4381"/>
                  <a:gd name="connsiteX3" fmla="*/ 0 w 41655"/>
                  <a:gd name="connsiteY3" fmla="*/ 4382 h 43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655" h="4381">
                    <a:moveTo>
                      <a:pt x="0" y="0"/>
                    </a:moveTo>
                    <a:lnTo>
                      <a:pt x="41656" y="0"/>
                    </a:lnTo>
                    <a:lnTo>
                      <a:pt x="41656" y="4382"/>
                    </a:lnTo>
                    <a:lnTo>
                      <a:pt x="0" y="4382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1" name="Freeform: Shape 130">
                <a:extLst>
                  <a:ext uri="{FF2B5EF4-FFF2-40B4-BE49-F238E27FC236}">
                    <a16:creationId xmlns:a16="http://schemas.microsoft.com/office/drawing/2014/main" id="{345B0990-518A-4D66-9558-A4A21E17FDDF}"/>
                  </a:ext>
                </a:extLst>
              </p:cNvPr>
              <p:cNvSpPr/>
              <p:nvPr/>
            </p:nvSpPr>
            <p:spPr>
              <a:xfrm>
                <a:off x="11855259" y="6070028"/>
                <a:ext cx="41655" cy="4381"/>
              </a:xfrm>
              <a:custGeom>
                <a:avLst/>
                <a:gdLst>
                  <a:gd name="connsiteX0" fmla="*/ 0 w 41655"/>
                  <a:gd name="connsiteY0" fmla="*/ 0 h 4381"/>
                  <a:gd name="connsiteX1" fmla="*/ 41656 w 41655"/>
                  <a:gd name="connsiteY1" fmla="*/ 0 h 4381"/>
                  <a:gd name="connsiteX2" fmla="*/ 41656 w 41655"/>
                  <a:gd name="connsiteY2" fmla="*/ 4381 h 4381"/>
                  <a:gd name="connsiteX3" fmla="*/ 0 w 41655"/>
                  <a:gd name="connsiteY3" fmla="*/ 4381 h 43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655" h="4381">
                    <a:moveTo>
                      <a:pt x="0" y="0"/>
                    </a:moveTo>
                    <a:lnTo>
                      <a:pt x="41656" y="0"/>
                    </a:lnTo>
                    <a:lnTo>
                      <a:pt x="41656" y="4381"/>
                    </a:lnTo>
                    <a:lnTo>
                      <a:pt x="0" y="4381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2" name="Freeform: Shape 131">
                <a:extLst>
                  <a:ext uri="{FF2B5EF4-FFF2-40B4-BE49-F238E27FC236}">
                    <a16:creationId xmlns:a16="http://schemas.microsoft.com/office/drawing/2014/main" id="{82DC273E-06B6-4901-823A-42356C2C95FF}"/>
                  </a:ext>
                </a:extLst>
              </p:cNvPr>
              <p:cNvSpPr/>
              <p:nvPr/>
            </p:nvSpPr>
            <p:spPr>
              <a:xfrm>
                <a:off x="11854497" y="5791517"/>
                <a:ext cx="42418" cy="38100"/>
              </a:xfrm>
              <a:custGeom>
                <a:avLst/>
                <a:gdLst>
                  <a:gd name="connsiteX0" fmla="*/ 0 w 42418"/>
                  <a:gd name="connsiteY0" fmla="*/ 0 h 38100"/>
                  <a:gd name="connsiteX1" fmla="*/ 42418 w 42418"/>
                  <a:gd name="connsiteY1" fmla="*/ 0 h 38100"/>
                  <a:gd name="connsiteX2" fmla="*/ 42418 w 42418"/>
                  <a:gd name="connsiteY2" fmla="*/ 38100 h 38100"/>
                  <a:gd name="connsiteX3" fmla="*/ 0 w 42418"/>
                  <a:gd name="connsiteY3" fmla="*/ 38100 h 38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2418" h="38100">
                    <a:moveTo>
                      <a:pt x="0" y="0"/>
                    </a:moveTo>
                    <a:lnTo>
                      <a:pt x="42418" y="0"/>
                    </a:lnTo>
                    <a:lnTo>
                      <a:pt x="42418" y="38100"/>
                    </a:lnTo>
                    <a:lnTo>
                      <a:pt x="0" y="38100"/>
                    </a:lnTo>
                    <a:close/>
                  </a:path>
                </a:pathLst>
              </a:custGeom>
              <a:solidFill>
                <a:srgbClr val="C8C9C7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127" name="Freeform: Shape 126">
              <a:extLst>
                <a:ext uri="{FF2B5EF4-FFF2-40B4-BE49-F238E27FC236}">
                  <a16:creationId xmlns:a16="http://schemas.microsoft.com/office/drawing/2014/main" id="{432D69D3-B1D9-4752-B422-0712A33B4E1E}"/>
                </a:ext>
              </a:extLst>
            </p:cNvPr>
            <p:cNvSpPr/>
            <p:nvPr/>
          </p:nvSpPr>
          <p:spPr>
            <a:xfrm>
              <a:off x="11838178" y="6162294"/>
              <a:ext cx="73152" cy="39877"/>
            </a:xfrm>
            <a:custGeom>
              <a:avLst/>
              <a:gdLst>
                <a:gd name="connsiteX0" fmla="*/ 38671 w 73152"/>
                <a:gd name="connsiteY0" fmla="*/ 0 h 39877"/>
                <a:gd name="connsiteX1" fmla="*/ 73152 w 73152"/>
                <a:gd name="connsiteY1" fmla="*/ 37465 h 39877"/>
                <a:gd name="connsiteX2" fmla="*/ 69914 w 73152"/>
                <a:gd name="connsiteY2" fmla="*/ 39878 h 39877"/>
                <a:gd name="connsiteX3" fmla="*/ 36576 w 73152"/>
                <a:gd name="connsiteY3" fmla="*/ 3747 h 39877"/>
                <a:gd name="connsiteX4" fmla="*/ 3239 w 73152"/>
                <a:gd name="connsiteY4" fmla="*/ 39878 h 39877"/>
                <a:gd name="connsiteX5" fmla="*/ 0 w 73152"/>
                <a:gd name="connsiteY5" fmla="*/ 37465 h 39877"/>
                <a:gd name="connsiteX6" fmla="*/ 34480 w 73152"/>
                <a:gd name="connsiteY6" fmla="*/ 0 h 39877"/>
                <a:gd name="connsiteX7" fmla="*/ 38671 w 73152"/>
                <a:gd name="connsiteY7" fmla="*/ 0 h 398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3152" h="39877">
                  <a:moveTo>
                    <a:pt x="38671" y="0"/>
                  </a:moveTo>
                  <a:lnTo>
                    <a:pt x="73152" y="37465"/>
                  </a:lnTo>
                  <a:lnTo>
                    <a:pt x="69914" y="39878"/>
                  </a:lnTo>
                  <a:lnTo>
                    <a:pt x="36576" y="3747"/>
                  </a:lnTo>
                  <a:lnTo>
                    <a:pt x="3239" y="39878"/>
                  </a:lnTo>
                  <a:lnTo>
                    <a:pt x="0" y="37465"/>
                  </a:lnTo>
                  <a:lnTo>
                    <a:pt x="34480" y="0"/>
                  </a:lnTo>
                  <a:lnTo>
                    <a:pt x="38671" y="0"/>
                  </a:lnTo>
                  <a:close/>
                </a:path>
              </a:pathLst>
            </a:custGeom>
            <a:grpFill/>
            <a:ln w="6350" cap="flat">
              <a:solidFill>
                <a:srgbClr val="CFD0CE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122" name="Rectangle 6">
            <a:extLst>
              <a:ext uri="{FF2B5EF4-FFF2-40B4-BE49-F238E27FC236}">
                <a16:creationId xmlns:a16="http://schemas.microsoft.com/office/drawing/2014/main" id="{909BD88B-614B-40D2-9807-224D2FD3634C}"/>
              </a:ext>
            </a:extLst>
          </p:cNvPr>
          <p:cNvSpPr txBox="1">
            <a:spLocks noChangeArrowheads="1"/>
          </p:cNvSpPr>
          <p:nvPr userDrawn="1"/>
        </p:nvSpPr>
        <p:spPr bwMode="ltGray">
          <a:xfrm>
            <a:off x="10363200" y="203016"/>
            <a:ext cx="592666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sz="700"/>
            </a:lvl1pPr>
          </a:lstStyle>
          <a:p>
            <a:pPr marL="0" marR="0" lvl="0" indent="0" algn="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8D7874BA-B114-4D1F-A449-70AD1C45E88A}" type="slidenum">
              <a:rPr kumimoji="0" lang="en-US" sz="900" b="0" i="0" u="none" strike="noStrike" kern="0" cap="none" spc="0" normalizeH="0" baseline="0" noProof="0" smtClean="0">
                <a:ln>
                  <a:noFill/>
                </a:ln>
                <a:solidFill>
                  <a:srgbClr val="B8B7B9"/>
                </a:solidFill>
                <a:effectLst/>
                <a:uLnTx/>
                <a:uFillTx/>
                <a:ea typeface="MS PGothic" pitchFamily="34" charset="-128"/>
              </a:rPr>
              <a:pPr marL="0" marR="0" lvl="0" indent="0" algn="r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0" cap="none" spc="0" normalizeH="0" baseline="0" noProof="0" dirty="0">
              <a:ln>
                <a:noFill/>
              </a:ln>
              <a:solidFill>
                <a:srgbClr val="B8B7B9"/>
              </a:solidFill>
              <a:effectLst/>
              <a:uLnTx/>
              <a:uFillTx/>
              <a:ea typeface="MS PGothic" pitchFamily="34" charset="-128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057" r:id="rId1"/>
    <p:sldLayoutId id="2147483998" r:id="rId2"/>
    <p:sldLayoutId id="2147483999" r:id="rId3"/>
    <p:sldLayoutId id="2147484000" r:id="rId4"/>
    <p:sldLayoutId id="2147483650" r:id="rId5"/>
    <p:sldLayoutId id="2147483652" r:id="rId6"/>
    <p:sldLayoutId id="2147483653" r:id="rId7"/>
    <p:sldLayoutId id="2147483654" r:id="rId8"/>
    <p:sldLayoutId id="2147483938" r:id="rId9"/>
    <p:sldLayoutId id="2147483972" r:id="rId10"/>
    <p:sldLayoutId id="2147483963" r:id="rId11"/>
    <p:sldLayoutId id="2147483953" r:id="rId12"/>
    <p:sldLayoutId id="2147484001" r:id="rId13"/>
    <p:sldLayoutId id="2147484002" r:id="rId14"/>
    <p:sldLayoutId id="2147483971" r:id="rId15"/>
    <p:sldLayoutId id="2147483956" r:id="rId16"/>
    <p:sldLayoutId id="2147483992" r:id="rId17"/>
    <p:sldLayoutId id="2147483957" r:id="rId18"/>
    <p:sldLayoutId id="2147484054" r:id="rId19"/>
    <p:sldLayoutId id="2147484030" r:id="rId20"/>
    <p:sldLayoutId id="2147484028" r:id="rId21"/>
    <p:sldLayoutId id="2147483701" r:id="rId22"/>
    <p:sldLayoutId id="2147484059" r:id="rId23"/>
    <p:sldLayoutId id="2147484062" r:id="rId24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dt="0"/>
  <p:txStyles>
    <p:titleStyle>
      <a:lvl1pPr algn="l" defTabSz="1086775" rtl="0" eaLnBrk="1" latinLnBrk="0" hangingPunct="1">
        <a:lnSpc>
          <a:spcPct val="80000"/>
        </a:lnSpc>
        <a:spcBef>
          <a:spcPct val="0"/>
        </a:spcBef>
        <a:buNone/>
        <a:defRPr sz="3000" b="1" kern="1200" cap="all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1086775" rtl="0" eaLnBrk="1" latinLnBrk="0" hangingPunct="1">
        <a:lnSpc>
          <a:spcPct val="90000"/>
        </a:lnSpc>
        <a:spcBef>
          <a:spcPts val="1800"/>
        </a:spcBef>
        <a:buClr>
          <a:schemeClr val="bg2"/>
        </a:buClr>
        <a:buFontTx/>
        <a:buBlip>
          <a:blip r:embed="rId32">
            <a:extLst>
              <a:ext uri="{96DAC541-7B7A-43D3-8B79-37D633B846F1}">
                <asvg:svgBlip xmlns:asvg="http://schemas.microsoft.com/office/drawing/2016/SVG/main" r:embed="rId33"/>
              </a:ext>
            </a:extLst>
          </a:blip>
        </a:buBlip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85216" indent="-274320" algn="l" defTabSz="1086775" rtl="0" eaLnBrk="1" latinLnBrk="0" hangingPunct="1">
        <a:lnSpc>
          <a:spcPct val="90000"/>
        </a:lnSpc>
        <a:spcBef>
          <a:spcPts val="400"/>
        </a:spcBef>
        <a:spcAft>
          <a:spcPts val="0"/>
        </a:spcAft>
        <a:buClr>
          <a:schemeClr val="tx1"/>
        </a:buClr>
        <a:buSzPct val="100000"/>
        <a:buFontTx/>
        <a:buBlip>
          <a:blip r:embed="rId34"/>
        </a:buBlip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859536" indent="-274320" algn="l" defTabSz="1290546" rtl="0" eaLnBrk="1" latinLnBrk="0" hangingPunct="1">
        <a:lnSpc>
          <a:spcPct val="90000"/>
        </a:lnSpc>
        <a:spcBef>
          <a:spcPts val="200"/>
        </a:spcBef>
        <a:spcAft>
          <a:spcPts val="0"/>
        </a:spcAft>
        <a:buClr>
          <a:schemeClr val="tx1"/>
        </a:buClr>
        <a:buFontTx/>
        <a:buBlip>
          <a:blip r:embed="rId35"/>
        </a:buBlip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143000" indent="-228600" algn="l" defTabSz="1086775" rtl="0" eaLnBrk="1" latinLnBrk="0" hangingPunct="1">
        <a:lnSpc>
          <a:spcPct val="90000"/>
        </a:lnSpc>
        <a:spcBef>
          <a:spcPts val="200"/>
        </a:spcBef>
        <a:spcAft>
          <a:spcPts val="0"/>
        </a:spcAft>
        <a:buClr>
          <a:schemeClr val="tx1"/>
        </a:buClr>
        <a:buSzPct val="100000"/>
        <a:buFontTx/>
        <a:buBlip>
          <a:blip r:embed="rId36"/>
        </a:buBlip>
        <a:tabLst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4pPr>
      <a:lvl5pPr marL="1389888" indent="-228600" algn="l" defTabSz="1086775" rtl="0" eaLnBrk="1" latinLnBrk="0" hangingPunct="1">
        <a:lnSpc>
          <a:spcPct val="90000"/>
        </a:lnSpc>
        <a:spcBef>
          <a:spcPts val="200"/>
        </a:spcBef>
        <a:spcAft>
          <a:spcPts val="0"/>
        </a:spcAft>
        <a:buClr>
          <a:schemeClr val="tx1"/>
        </a:buClr>
        <a:buFontTx/>
        <a:buBlip>
          <a:blip r:embed="rId35"/>
        </a:buBlip>
        <a:defRPr sz="1400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2988632" indent="-271694" algn="l" defTabSz="1086775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32020" indent="-271694" algn="l" defTabSz="1086775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075408" indent="-271694" algn="l" defTabSz="1086775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618796" indent="-271694" algn="l" defTabSz="1086775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1pPr>
      <a:lvl2pPr marL="543388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2pPr>
      <a:lvl3pPr marL="1086775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3pPr>
      <a:lvl4pPr marL="1630163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4pPr>
      <a:lvl5pPr marL="2173551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5pPr>
      <a:lvl6pPr marL="2716938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6pPr>
      <a:lvl7pPr marL="3260326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7pPr>
      <a:lvl8pPr marL="3803713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8pPr>
      <a:lvl9pPr marL="4347102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3.png"/><Relationship Id="rId13" Type="http://schemas.openxmlformats.org/officeDocument/2006/relationships/image" Target="../media/image38.png"/><Relationship Id="rId3" Type="http://schemas.openxmlformats.org/officeDocument/2006/relationships/tags" Target="../tags/tag11.xml"/><Relationship Id="rId7" Type="http://schemas.openxmlformats.org/officeDocument/2006/relationships/notesSlide" Target="../notesSlides/notesSlide1.xml"/><Relationship Id="rId12" Type="http://schemas.openxmlformats.org/officeDocument/2006/relationships/image" Target="../media/image37.png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6" Type="http://schemas.openxmlformats.org/officeDocument/2006/relationships/slideLayout" Target="../slideLayouts/slideLayout8.xml"/><Relationship Id="rId11" Type="http://schemas.openxmlformats.org/officeDocument/2006/relationships/image" Target="../media/image36.png"/><Relationship Id="rId5" Type="http://schemas.openxmlformats.org/officeDocument/2006/relationships/tags" Target="../tags/tag13.xml"/><Relationship Id="rId10" Type="http://schemas.openxmlformats.org/officeDocument/2006/relationships/image" Target="../media/image35.png"/><Relationship Id="rId4" Type="http://schemas.openxmlformats.org/officeDocument/2006/relationships/tags" Target="../tags/tag12.xml"/><Relationship Id="rId9" Type="http://schemas.openxmlformats.org/officeDocument/2006/relationships/image" Target="../media/image34.png"/><Relationship Id="rId14" Type="http://schemas.openxmlformats.org/officeDocument/2006/relationships/image" Target="../media/image39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cap="none"/>
              <a:t>CREO FLEXIBLE MODELING (FMX)</a:t>
            </a:r>
          </a:p>
        </p:txBody>
      </p:sp>
      <p:sp>
        <p:nvSpPr>
          <p:cNvPr id="6" name="Subtitle 5"/>
          <p:cNvSpPr>
            <a:spLocks noGrp="1"/>
          </p:cNvSpPr>
          <p:nvPr>
            <p:ph type="subTitle" idx="4294967295"/>
          </p:nvPr>
        </p:nvSpPr>
        <p:spPr>
          <a:xfrm>
            <a:off x="495300" y="1190912"/>
            <a:ext cx="7536910" cy="363891"/>
          </a:xfrm>
        </p:spPr>
        <p:txBody>
          <a:bodyPr vert="horz" lIns="0" tIns="0" rIns="0" bIns="0" rtlCol="0">
            <a:noAutofit/>
          </a:bodyPr>
          <a:lstStyle/>
          <a:p>
            <a:pPr marL="0" indent="0">
              <a:buNone/>
            </a:pPr>
            <a:r>
              <a:rPr lang="en-US" sz="2000" dirty="0"/>
              <a:t>Capabilities to directly edit any 3D geometry in Creo Parametric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B6A13AEA-F694-4DCA-AE2C-5C75735F5595}"/>
              </a:ext>
            </a:extLst>
          </p:cNvPr>
          <p:cNvGrpSpPr/>
          <p:nvPr/>
        </p:nvGrpSpPr>
        <p:grpSpPr>
          <a:xfrm>
            <a:off x="495300" y="1877649"/>
            <a:ext cx="6665439" cy="4405646"/>
            <a:chOff x="406940" y="1649843"/>
            <a:chExt cx="6665439" cy="4405646"/>
          </a:xfrm>
        </p:grpSpPr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5C472574-9653-4EB3-88FC-9B89A71EAE0C}"/>
                </a:ext>
              </a:extLst>
            </p:cNvPr>
            <p:cNvSpPr/>
            <p:nvPr/>
          </p:nvSpPr>
          <p:spPr>
            <a:xfrm>
              <a:off x="406940" y="1649843"/>
              <a:ext cx="1510147" cy="552358"/>
            </a:xfrm>
            <a:prstGeom prst="rect">
              <a:avLst/>
            </a:prstGeom>
            <a:solidFill>
              <a:schemeClr val="bg2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r">
                <a:lnSpc>
                  <a:spcPct val="90000"/>
                </a:lnSpc>
                <a:spcBef>
                  <a:spcPts val="800"/>
                </a:spcBef>
              </a:pPr>
              <a:r>
                <a:rPr lang="en-US" sz="1500" b="1" dirty="0">
                  <a:solidFill>
                    <a:schemeClr val="tx1"/>
                  </a:solidFill>
                </a:rPr>
                <a:t>Who Needs It?</a:t>
              </a:r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6DA5EB53-05A6-4313-AFB7-35FFD428CCB3}"/>
                </a:ext>
              </a:extLst>
            </p:cNvPr>
            <p:cNvSpPr/>
            <p:nvPr/>
          </p:nvSpPr>
          <p:spPr>
            <a:xfrm>
              <a:off x="2057794" y="1649843"/>
              <a:ext cx="5014585" cy="552358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1400">
                  <a:solidFill>
                    <a:schemeClr val="tx1"/>
                  </a:solidFill>
                </a:rPr>
                <a:t>All customers that need to work with and edit multi-CAD from suppliers, partners and extended design teams</a:t>
              </a:r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0C9B7566-55BA-47BF-B535-BCBE91149D38}"/>
                </a:ext>
              </a:extLst>
            </p:cNvPr>
            <p:cNvSpPr/>
            <p:nvPr/>
          </p:nvSpPr>
          <p:spPr>
            <a:xfrm>
              <a:off x="406940" y="2281577"/>
              <a:ext cx="1510147" cy="752920"/>
            </a:xfrm>
            <a:prstGeom prst="rect">
              <a:avLst/>
            </a:prstGeom>
            <a:solidFill>
              <a:schemeClr val="bg2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r">
                <a:lnSpc>
                  <a:spcPct val="90000"/>
                </a:lnSpc>
                <a:spcBef>
                  <a:spcPts val="800"/>
                </a:spcBef>
              </a:pPr>
              <a:r>
                <a:rPr lang="en-US" sz="1500" b="1">
                  <a:solidFill>
                    <a:schemeClr val="tx1"/>
                  </a:solidFill>
                </a:rPr>
                <a:t>Business Value</a:t>
              </a:r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3DACA613-2948-4ED4-A2E7-069DFF270002}"/>
                </a:ext>
              </a:extLst>
            </p:cNvPr>
            <p:cNvSpPr/>
            <p:nvPr/>
          </p:nvSpPr>
          <p:spPr>
            <a:xfrm>
              <a:off x="2057797" y="2281577"/>
              <a:ext cx="4324386" cy="75292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t" anchorCtr="0">
              <a:spAutoFit/>
            </a:bodyPr>
            <a:lstStyle/>
            <a:p>
              <a:pPr marL="174625" lvl="1" indent="-174625">
                <a:buClr>
                  <a:schemeClr val="bg2"/>
                </a:buClr>
                <a:buFont typeface="Wingdings" panose="05000000000000000000" pitchFamily="2" charset="2"/>
                <a:buChar char="§"/>
              </a:pPr>
              <a:r>
                <a:rPr lang="en-US" sz="1400" dirty="0">
                  <a:solidFill>
                    <a:schemeClr val="tx1"/>
                  </a:solidFill>
                </a:rPr>
                <a:t>Reduce time-to-market</a:t>
              </a:r>
            </a:p>
            <a:p>
              <a:pPr marL="174625" lvl="1" indent="-174625">
                <a:buClr>
                  <a:schemeClr val="bg2"/>
                </a:buClr>
                <a:buFont typeface="Wingdings" panose="05000000000000000000" pitchFamily="2" charset="2"/>
                <a:buChar char="§"/>
              </a:pPr>
              <a:r>
                <a:rPr lang="en-US" sz="1400" dirty="0">
                  <a:solidFill>
                    <a:schemeClr val="tx1"/>
                  </a:solidFill>
                </a:rPr>
                <a:t>Reduce product development cost </a:t>
              </a:r>
            </a:p>
            <a:p>
              <a:pPr marL="174625" lvl="1" indent="-174625">
                <a:buClr>
                  <a:schemeClr val="bg2"/>
                </a:buClr>
                <a:buFont typeface="Wingdings" panose="05000000000000000000" pitchFamily="2" charset="2"/>
                <a:buChar char="§"/>
              </a:pPr>
              <a:r>
                <a:rPr lang="en-US" sz="1400" dirty="0">
                  <a:solidFill>
                    <a:schemeClr val="tx1"/>
                  </a:solidFill>
                </a:rPr>
                <a:t>Improve product quality and innovation</a:t>
              </a:r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8FAB07CC-4D66-4142-AC98-73A5E813A474}"/>
                </a:ext>
              </a:extLst>
            </p:cNvPr>
            <p:cNvSpPr/>
            <p:nvPr/>
          </p:nvSpPr>
          <p:spPr>
            <a:xfrm>
              <a:off x="406940" y="3113873"/>
              <a:ext cx="1510147" cy="1039369"/>
            </a:xfrm>
            <a:prstGeom prst="rect">
              <a:avLst/>
            </a:prstGeom>
            <a:solidFill>
              <a:schemeClr val="bg2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r">
                <a:lnSpc>
                  <a:spcPct val="90000"/>
                </a:lnSpc>
                <a:spcBef>
                  <a:spcPts val="800"/>
                </a:spcBef>
              </a:pPr>
              <a:r>
                <a:rPr lang="en-US" sz="1500" b="1">
                  <a:solidFill>
                    <a:schemeClr val="tx1"/>
                  </a:solidFill>
                </a:rPr>
                <a:t>Process Improvement</a:t>
              </a:r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78C65D78-EECC-4ADA-9DCD-BE17EDD723D1}"/>
                </a:ext>
              </a:extLst>
            </p:cNvPr>
            <p:cNvSpPr/>
            <p:nvPr/>
          </p:nvSpPr>
          <p:spPr>
            <a:xfrm>
              <a:off x="2057795" y="3113873"/>
              <a:ext cx="4324388" cy="1039369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t" anchorCtr="0">
              <a:spAutoFit/>
            </a:bodyPr>
            <a:lstStyle/>
            <a:p>
              <a:pPr marL="174625" lvl="1" indent="-174625">
                <a:buClr>
                  <a:schemeClr val="bg2"/>
                </a:buClr>
                <a:buFont typeface="Wingdings" panose="05000000000000000000" pitchFamily="2" charset="2"/>
                <a:buChar char="§"/>
              </a:pPr>
              <a:r>
                <a:rPr lang="en-US" sz="1400" dirty="0">
                  <a:solidFill>
                    <a:schemeClr val="tx1"/>
                  </a:solidFill>
                </a:rPr>
                <a:t>Multi-CAD Design</a:t>
              </a:r>
            </a:p>
            <a:p>
              <a:pPr marL="174625" lvl="1" indent="-174625">
                <a:buClr>
                  <a:schemeClr val="bg2"/>
                </a:buClr>
                <a:buFont typeface="Wingdings" panose="05000000000000000000" pitchFamily="2" charset="2"/>
                <a:buChar char="§"/>
              </a:pPr>
              <a:r>
                <a:rPr lang="en-US" sz="1400" dirty="0">
                  <a:solidFill>
                    <a:schemeClr val="tx1"/>
                  </a:solidFill>
                </a:rPr>
                <a:t>Late Stage and Unexpected Change</a:t>
              </a:r>
            </a:p>
            <a:p>
              <a:pPr marL="174625" lvl="1" indent="-174625">
                <a:buClr>
                  <a:schemeClr val="bg2"/>
                </a:buClr>
                <a:buFont typeface="Wingdings" panose="05000000000000000000" pitchFamily="2" charset="2"/>
                <a:buChar char="§"/>
              </a:pPr>
              <a:r>
                <a:rPr lang="en-US" sz="1400" dirty="0">
                  <a:solidFill>
                    <a:schemeClr val="tx1"/>
                  </a:solidFill>
                </a:rPr>
                <a:t>Rapid Design Exploration and Reuse </a:t>
              </a:r>
            </a:p>
            <a:p>
              <a:pPr marL="174625" lvl="1" indent="-174625">
                <a:buClr>
                  <a:schemeClr val="bg2"/>
                </a:buClr>
                <a:buFont typeface="Wingdings" panose="05000000000000000000" pitchFamily="2" charset="2"/>
                <a:buChar char="§"/>
              </a:pPr>
              <a:r>
                <a:rPr lang="en-US" sz="1400" dirty="0">
                  <a:solidFill>
                    <a:schemeClr val="tx1"/>
                  </a:solidFill>
                </a:rPr>
                <a:t>Model Prep and Simplification </a:t>
              </a:r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B8D59B2E-748F-4337-9623-01491FDBC0CD}"/>
                </a:ext>
              </a:extLst>
            </p:cNvPr>
            <p:cNvSpPr/>
            <p:nvPr/>
          </p:nvSpPr>
          <p:spPr>
            <a:xfrm>
              <a:off x="406940" y="4232615"/>
              <a:ext cx="1510147" cy="1822874"/>
            </a:xfrm>
            <a:prstGeom prst="rect">
              <a:avLst/>
            </a:prstGeom>
            <a:solidFill>
              <a:schemeClr val="bg2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r">
                <a:lnSpc>
                  <a:spcPct val="90000"/>
                </a:lnSpc>
                <a:spcBef>
                  <a:spcPts val="800"/>
                </a:spcBef>
              </a:pPr>
              <a:r>
                <a:rPr lang="en-US" sz="1500" b="1">
                  <a:solidFill>
                    <a:schemeClr val="tx1"/>
                  </a:solidFill>
                </a:rPr>
                <a:t>Technology/ Capability</a:t>
              </a:r>
            </a:p>
          </p:txBody>
        </p: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E44428E8-0944-49EC-92C6-0B42A209EA88}"/>
                </a:ext>
              </a:extLst>
            </p:cNvPr>
            <p:cNvSpPr/>
            <p:nvPr/>
          </p:nvSpPr>
          <p:spPr>
            <a:xfrm>
              <a:off x="2057795" y="4232615"/>
              <a:ext cx="3567750" cy="1822874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t" anchorCtr="0">
              <a:spAutoFit/>
            </a:bodyPr>
            <a:lstStyle/>
            <a:p>
              <a:pPr marL="174625" lvl="1" indent="-174625">
                <a:buClr>
                  <a:schemeClr val="bg2"/>
                </a:buClr>
                <a:buFont typeface="Wingdings" panose="05000000000000000000" pitchFamily="2" charset="2"/>
                <a:buChar char="§"/>
              </a:pPr>
              <a:r>
                <a:rPr lang="en-US" sz="1400" dirty="0">
                  <a:solidFill>
                    <a:schemeClr val="tx1"/>
                  </a:solidFill>
                </a:rPr>
                <a:t>Support multi-CAD Collaboration and Consolidation efforts</a:t>
              </a:r>
            </a:p>
            <a:p>
              <a:pPr marL="174625" lvl="1" indent="-174625">
                <a:buClr>
                  <a:schemeClr val="bg2"/>
                </a:buClr>
                <a:buFont typeface="Wingdings" panose="05000000000000000000" pitchFamily="2" charset="2"/>
                <a:buChar char="§"/>
              </a:pPr>
              <a:r>
                <a:rPr lang="en-US" sz="1400" dirty="0">
                  <a:solidFill>
                    <a:schemeClr val="tx1"/>
                  </a:solidFill>
                </a:rPr>
                <a:t>Rapidly implement late stage and unexpected design change</a:t>
              </a:r>
            </a:p>
            <a:p>
              <a:pPr marL="174625" lvl="1" indent="-174625">
                <a:buClr>
                  <a:schemeClr val="bg2"/>
                </a:buClr>
                <a:buFont typeface="Wingdings" panose="05000000000000000000" pitchFamily="2" charset="2"/>
                <a:buChar char="§"/>
              </a:pPr>
              <a:r>
                <a:rPr lang="en-US" sz="1400" dirty="0">
                  <a:solidFill>
                    <a:schemeClr val="tx1"/>
                  </a:solidFill>
                </a:rPr>
                <a:t>Speed design exploration and enable CAD data reuse</a:t>
              </a:r>
            </a:p>
            <a:p>
              <a:pPr marL="174625" lvl="1" indent="-174625">
                <a:buClr>
                  <a:schemeClr val="bg2"/>
                </a:buClr>
                <a:buFont typeface="Wingdings" panose="05000000000000000000" pitchFamily="2" charset="2"/>
                <a:buChar char="§"/>
              </a:pPr>
              <a:r>
                <a:rPr lang="en-US" sz="1400" dirty="0">
                  <a:solidFill>
                    <a:schemeClr val="tx1"/>
                  </a:solidFill>
                </a:rPr>
                <a:t>Prepare models for analysis and downstream use</a:t>
              </a:r>
            </a:p>
          </p:txBody>
        </p: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F3843ED9-1F09-4651-AD14-1000F8D9D6AA}"/>
                </a:ext>
              </a:extLst>
            </p:cNvPr>
            <p:cNvCxnSpPr>
              <a:cxnSpLocks/>
            </p:cNvCxnSpPr>
            <p:nvPr/>
          </p:nvCxnSpPr>
          <p:spPr>
            <a:xfrm>
              <a:off x="2014072" y="1649843"/>
              <a:ext cx="0" cy="552358"/>
            </a:xfrm>
            <a:prstGeom prst="line">
              <a:avLst/>
            </a:prstGeom>
            <a:ln w="3810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C259AFA3-AFB5-43C4-BF50-4F524EBF7164}"/>
                </a:ext>
              </a:extLst>
            </p:cNvPr>
            <p:cNvCxnSpPr>
              <a:cxnSpLocks/>
            </p:cNvCxnSpPr>
            <p:nvPr/>
          </p:nvCxnSpPr>
          <p:spPr>
            <a:xfrm>
              <a:off x="2014072" y="2281575"/>
              <a:ext cx="0" cy="752920"/>
            </a:xfrm>
            <a:prstGeom prst="line">
              <a:avLst/>
            </a:prstGeom>
            <a:ln w="3810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727749C8-0EFB-4E6A-9DDB-D59E8C99D329}"/>
                </a:ext>
              </a:extLst>
            </p:cNvPr>
            <p:cNvCxnSpPr>
              <a:cxnSpLocks/>
            </p:cNvCxnSpPr>
            <p:nvPr/>
          </p:nvCxnSpPr>
          <p:spPr>
            <a:xfrm>
              <a:off x="2014072" y="3113871"/>
              <a:ext cx="0" cy="1039369"/>
            </a:xfrm>
            <a:prstGeom prst="line">
              <a:avLst/>
            </a:prstGeom>
            <a:ln w="3810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6F119901-7F91-436A-B758-1A4894923DDE}"/>
                </a:ext>
              </a:extLst>
            </p:cNvPr>
            <p:cNvCxnSpPr>
              <a:cxnSpLocks/>
            </p:cNvCxnSpPr>
            <p:nvPr/>
          </p:nvCxnSpPr>
          <p:spPr>
            <a:xfrm>
              <a:off x="2014072" y="4232615"/>
              <a:ext cx="0" cy="1822874"/>
            </a:xfrm>
            <a:prstGeom prst="line">
              <a:avLst/>
            </a:prstGeom>
            <a:ln w="3810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26" name="Picture 2">
            <a:extLst>
              <a:ext uri="{FF2B5EF4-FFF2-40B4-BE49-F238E27FC236}">
                <a16:creationId xmlns:a16="http://schemas.microsoft.com/office/drawing/2014/main" id="{2DBAD6DF-11BE-4389-9F9F-798195E0D0C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print">
            <a:clrChange>
              <a:clrFrom>
                <a:srgbClr val="FBFBFC"/>
              </a:clrFrom>
              <a:clrTo>
                <a:srgbClr val="FBFBFC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6935909" y="1723849"/>
            <a:ext cx="3054728" cy="181099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8" name="Picture 2">
            <a:extLst>
              <a:ext uri="{FF2B5EF4-FFF2-40B4-BE49-F238E27FC236}">
                <a16:creationId xmlns:a16="http://schemas.microsoft.com/office/drawing/2014/main" id="{4035BC66-8519-49B5-95BD-ED44DD0F43A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print">
            <a:clrChange>
              <a:clrFrom>
                <a:srgbClr val="FBFBFC"/>
              </a:clrFrom>
              <a:clrTo>
                <a:srgbClr val="FBFBFC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86235" y="2330410"/>
            <a:ext cx="2395810" cy="151300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3" name="Picture 10">
            <a:extLst>
              <a:ext uri="{FF2B5EF4-FFF2-40B4-BE49-F238E27FC236}">
                <a16:creationId xmlns:a16="http://schemas.microsoft.com/office/drawing/2014/main" id="{A033C0B3-EC73-4B79-B13A-AA5CA787AB68}"/>
              </a:ext>
            </a:extLst>
          </p:cNvPr>
          <p:cNvPicPr>
            <a:picLocks noChangeAspect="1" noChangeArrowheads="1"/>
          </p:cNvPicPr>
          <p:nvPr>
            <p:custDataLst>
              <p:tags r:id="rId1"/>
            </p:custDataLst>
          </p:nvPr>
        </p:nvPicPr>
        <p:blipFill>
          <a:blip r:embed="rId10" cstate="print">
            <a:clrChange>
              <a:clrFrom>
                <a:srgbClr val="FBFBFC"/>
              </a:clrFrom>
              <a:clrTo>
                <a:srgbClr val="FBFBFC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8993887" y="3646505"/>
            <a:ext cx="2591008" cy="20707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3" name="Group 2">
            <a:extLst>
              <a:ext uri="{FF2B5EF4-FFF2-40B4-BE49-F238E27FC236}">
                <a16:creationId xmlns:a16="http://schemas.microsoft.com/office/drawing/2014/main" id="{04BC2E3C-E16C-45AC-88FF-DF1E308E09B4}"/>
              </a:ext>
            </a:extLst>
          </p:cNvPr>
          <p:cNvGrpSpPr/>
          <p:nvPr/>
        </p:nvGrpSpPr>
        <p:grpSpPr>
          <a:xfrm>
            <a:off x="5679565" y="4262878"/>
            <a:ext cx="6093335" cy="2229329"/>
            <a:chOff x="5114649" y="4036860"/>
            <a:chExt cx="6954614" cy="2544439"/>
          </a:xfrm>
        </p:grpSpPr>
        <p:pic>
          <p:nvPicPr>
            <p:cNvPr id="35" name="Picture 8">
              <a:extLst>
                <a:ext uri="{FF2B5EF4-FFF2-40B4-BE49-F238E27FC236}">
                  <a16:creationId xmlns:a16="http://schemas.microsoft.com/office/drawing/2014/main" id="{19706F67-32CA-417C-8EE3-11AAF6D1E46A}"/>
                </a:ext>
              </a:extLst>
            </p:cNvPr>
            <p:cNvPicPr>
              <a:picLocks noChangeAspect="1" noChangeArrowheads="1"/>
            </p:cNvPicPr>
            <p:nvPr>
              <p:custDataLst>
                <p:tags r:id="rId2"/>
              </p:custDataLst>
            </p:nvPr>
          </p:nvPicPr>
          <p:blipFill>
            <a:blip r:embed="rId11" cstate="print"/>
            <a:srcRect/>
            <a:stretch>
              <a:fillRect/>
            </a:stretch>
          </p:blipFill>
          <p:spPr bwMode="auto">
            <a:xfrm>
              <a:off x="5567462" y="4036860"/>
              <a:ext cx="2941637" cy="105886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37" name="Picture 9">
              <a:extLst>
                <a:ext uri="{FF2B5EF4-FFF2-40B4-BE49-F238E27FC236}">
                  <a16:creationId xmlns:a16="http://schemas.microsoft.com/office/drawing/2014/main" id="{BB6A9D21-A10F-49E5-9160-D4D1C1CE5162}"/>
                </a:ext>
              </a:extLst>
            </p:cNvPr>
            <p:cNvPicPr>
              <a:picLocks noChangeAspect="1" noChangeArrowheads="1"/>
            </p:cNvPicPr>
            <p:nvPr>
              <p:custDataLst>
                <p:tags r:id="rId3"/>
              </p:custDataLst>
            </p:nvPr>
          </p:nvPicPr>
          <p:blipFill>
            <a:blip r:embed="rId12" cstate="print"/>
            <a:srcRect/>
            <a:stretch>
              <a:fillRect/>
            </a:stretch>
          </p:blipFill>
          <p:spPr bwMode="auto">
            <a:xfrm>
              <a:off x="7473450" y="5773586"/>
              <a:ext cx="4595813" cy="587375"/>
            </a:xfrm>
            <a:prstGeom prst="rect">
              <a:avLst/>
            </a:prstGeom>
          </p:spPr>
        </p:pic>
        <p:pic>
          <p:nvPicPr>
            <p:cNvPr id="36" name="Picture 6">
              <a:extLst>
                <a:ext uri="{FF2B5EF4-FFF2-40B4-BE49-F238E27FC236}">
                  <a16:creationId xmlns:a16="http://schemas.microsoft.com/office/drawing/2014/main" id="{F3584684-F977-4545-872C-412A49D110A0}"/>
                </a:ext>
              </a:extLst>
            </p:cNvPr>
            <p:cNvPicPr>
              <a:picLocks noChangeAspect="1" noChangeArrowheads="1"/>
            </p:cNvPicPr>
            <p:nvPr>
              <p:custDataLst>
                <p:tags r:id="rId4"/>
              </p:custDataLst>
            </p:nvPr>
          </p:nvPicPr>
          <p:blipFill>
            <a:blip r:embed="rId13" cstate="print">
              <a:clrChange>
                <a:clrFrom>
                  <a:srgbClr val="FBFBFC"/>
                </a:clrFrom>
                <a:clrTo>
                  <a:srgbClr val="FBFBFC">
                    <a:alpha val="0"/>
                  </a:srgbClr>
                </a:clrTo>
              </a:clrChange>
            </a:blip>
            <a:srcRect/>
            <a:stretch>
              <a:fillRect/>
            </a:stretch>
          </p:blipFill>
          <p:spPr bwMode="auto">
            <a:xfrm>
              <a:off x="5114649" y="4889460"/>
              <a:ext cx="1674833" cy="169183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34" name="Picture 11">
              <a:extLst>
                <a:ext uri="{FF2B5EF4-FFF2-40B4-BE49-F238E27FC236}">
                  <a16:creationId xmlns:a16="http://schemas.microsoft.com/office/drawing/2014/main" id="{5CDEBC14-DE3A-4624-8D35-90B29FA93313}"/>
                </a:ext>
              </a:extLst>
            </p:cNvPr>
            <p:cNvPicPr>
              <a:picLocks noChangeAspect="1" noChangeArrowheads="1"/>
            </p:cNvPicPr>
            <p:nvPr>
              <p:custDataLst>
                <p:tags r:id="rId5"/>
              </p:custDataLst>
            </p:nvPr>
          </p:nvPicPr>
          <p:blipFill>
            <a:blip r:embed="rId14" cstate="print">
              <a:clrChange>
                <a:clrFrom>
                  <a:srgbClr val="FBFBFC"/>
                </a:clrFrom>
                <a:clrTo>
                  <a:srgbClr val="FBFBFC">
                    <a:alpha val="0"/>
                  </a:srgbClr>
                </a:clrTo>
              </a:clrChange>
            </a:blip>
            <a:srcRect/>
            <a:stretch>
              <a:fillRect/>
            </a:stretch>
          </p:blipFill>
          <p:spPr bwMode="auto">
            <a:xfrm>
              <a:off x="6553036" y="4661060"/>
              <a:ext cx="1564834" cy="166872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</p:spTree>
    <p:extLst>
      <p:ext uri="{BB962C8B-B14F-4D97-AF65-F5344CB8AC3E}">
        <p14:creationId xmlns:p14="http://schemas.microsoft.com/office/powerpoint/2010/main" val="17871211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PUBLISH_MODE" val="2"/>
  <p:tag name="ARTICULATE_SOURCE_IMAGE" val="D:\Users\avecchi\AppData\Local\Temp\articulate\presenter\imgtemp\Kf8jfgJl_files\slide0001_image001.pn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PUBLISH_MODE" val="2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PUBLISH_MODE" val="2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PUBLISH_MODE" val="2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v32lStPzbKjeVqUbCWny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XfE9v86RQrOvrodLv8C5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IV2maKZdWQUudon1RGby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ru.CyTn6V_fFpJ2tEORc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PUBLISH_MODE" val="2"/>
</p:tagLst>
</file>

<file path=ppt/theme/_rels/them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svg"/><Relationship Id="rId1" Type="http://schemas.openxmlformats.org/officeDocument/2006/relationships/image" Target="../media/image1.png"/></Relationships>
</file>

<file path=ppt/theme/theme1.xml><?xml version="1.0" encoding="utf-8"?>
<a:theme xmlns:a="http://schemas.openxmlformats.org/drawingml/2006/main" name="PTC PowerPoint Template">
  <a:themeElements>
    <a:clrScheme name="PTC PPT FY22">
      <a:dk1>
        <a:srgbClr val="4D585A"/>
      </a:dk1>
      <a:lt1>
        <a:srgbClr val="FFFFFF"/>
      </a:lt1>
      <a:dk2>
        <a:srgbClr val="C8C9C7"/>
      </a:dk2>
      <a:lt2>
        <a:srgbClr val="6CC04A"/>
      </a:lt2>
      <a:accent1>
        <a:srgbClr val="00890B"/>
      </a:accent1>
      <a:accent2>
        <a:srgbClr val="617480"/>
      </a:accent2>
      <a:accent3>
        <a:srgbClr val="26481F"/>
      </a:accent3>
      <a:accent4>
        <a:srgbClr val="2F97FF"/>
      </a:accent4>
      <a:accent5>
        <a:srgbClr val="EB6D00"/>
      </a:accent5>
      <a:accent6>
        <a:srgbClr val="1D496E"/>
      </a:accent6>
      <a:hlink>
        <a:srgbClr val="2F97FF"/>
      </a:hlink>
      <a:folHlink>
        <a:srgbClr val="2F97FF"/>
      </a:folHlink>
    </a:clrScheme>
    <a:fontScheme name="PTC Newsletter">
      <a:majorFont>
        <a:latin typeface="PTCRaleway"/>
        <a:ea typeface=""/>
        <a:cs typeface=""/>
      </a:majorFont>
      <a:minorFont>
        <a:latin typeface="PTCRaleway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4D585A"/>
        </a:solidFill>
        <a:ln w="28575"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l">
          <a:lnSpc>
            <a:spcPct val="90000"/>
          </a:lnSpc>
          <a:spcBef>
            <a:spcPts val="800"/>
          </a:spcBef>
          <a:defRPr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>
          <a:noFill/>
        </a:ln>
      </a:spPr>
      <a:bodyPr vert="horz" wrap="none" lIns="0" tIns="0" rIns="0" bIns="0" rtlCol="0">
        <a:spAutoFit/>
      </a:bodyPr>
      <a:lstStyle>
        <a:defPPr marL="274320" indent="-274320" algn="l">
          <a:lnSpc>
            <a:spcPct val="90000"/>
          </a:lnSpc>
          <a:spcBef>
            <a:spcPts val="800"/>
          </a:spcBef>
          <a:buBlip>
            <a:blip xmlns:r="http://schemas.openxmlformats.org/officeDocument/2006/relationships" r:embed="rId1">
              <a:extLst>
                <a:ext uri="{96DAC541-7B7A-43D3-8B79-37D633B846F1}">
                  <asvg:svgBlip xmlns:asvg="http://schemas.microsoft.com/office/drawing/2016/SVG/main" r:embed="rId2"/>
                </a:ext>
              </a:extLst>
            </a:blip>
          </a:buBlip>
          <a:defRPr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TC Corporate Template FY22.pptx" id="{61E092C9-F2AD-4020-B6A9-73E161A0A678}" vid="{7658606F-0CA7-4533-80D0-41CF0D1EE645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A53CC3168B6C2D4D99959A344254B259" ma:contentTypeVersion="12" ma:contentTypeDescription="Create a new document." ma:contentTypeScope="" ma:versionID="e468f9b7da3db852f22f87de9fae82bf">
  <xsd:schema xmlns:xsd="http://www.w3.org/2001/XMLSchema" xmlns:xs="http://www.w3.org/2001/XMLSchema" xmlns:p="http://schemas.microsoft.com/office/2006/metadata/properties" xmlns:ns2="06caee19-00b5-48df-bf01-7741a1496c06" xmlns:ns3="7dafaee0-0f14-4d71-9768-8f6113da2e1a" targetNamespace="http://schemas.microsoft.com/office/2006/metadata/properties" ma:root="true" ma:fieldsID="2297e68328c0963e3d6f41ac4bb00918" ns2:_="" ns3:_="">
    <xsd:import namespace="06caee19-00b5-48df-bf01-7741a1496c06"/>
    <xsd:import namespace="7dafaee0-0f14-4d71-9768-8f6113da2e1a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MediaServiceAutoKeyPoints" minOccurs="0"/>
                <xsd:element ref="ns2:MediaServiceKeyPoints" minOccurs="0"/>
                <xsd:element ref="ns2:MediaServiceDateTaken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6caee19-00b5-48df-bf01-7741a1496c06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2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3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4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5" nillable="true" ma:displayName="Tags" ma:internalName="MediaServiceAutoTags" ma:readOnly="true">
      <xsd:simpleType>
        <xsd:restriction base="dms:Text"/>
      </xsd:simple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9" nillable="true" ma:displayName="Length (seconds)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dafaee0-0f14-4d71-9768-8f6113da2e1a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2126EC88-F0D5-4034-9295-84F68AACF8A7}">
  <ds:schemaRefs>
    <ds:schemaRef ds:uri="http://schemas.microsoft.com/office/2006/metadata/properties"/>
    <ds:schemaRef ds:uri="http://schemas.microsoft.com/office/infopath/2007/PartnerControls"/>
  </ds:schemaRefs>
</ds:datastoreItem>
</file>

<file path=customXml/itemProps2.xml><?xml version="1.0" encoding="utf-8"?>
<ds:datastoreItem xmlns:ds="http://schemas.openxmlformats.org/officeDocument/2006/customXml" ds:itemID="{B6A337BF-3B74-4C10-A8A9-3670BC4CF746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10489BE2-6494-4C27-84D8-34E0EA3FD61E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06caee19-00b5-48df-bf01-7741a1496c06"/>
    <ds:schemaRef ds:uri="7dafaee0-0f14-4d71-9768-8f6113da2e1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1777</TotalTime>
  <Words>102</Words>
  <Application>Microsoft Office PowerPoint</Application>
  <PresentationFormat>Widescreen</PresentationFormat>
  <Paragraphs>19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8" baseType="lpstr">
      <vt:lpstr>Arial Narrow</vt:lpstr>
      <vt:lpstr>PTCRaleway</vt:lpstr>
      <vt:lpstr>PTCRaleway Black</vt:lpstr>
      <vt:lpstr>Wingdings</vt:lpstr>
      <vt:lpstr>Arial</vt:lpstr>
      <vt:lpstr>PTC PowerPoint Template</vt:lpstr>
      <vt:lpstr>think-cell Slide</vt:lpstr>
      <vt:lpstr>CREO FLEXIBLE MODELING (FMX)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reo Packaging  and Solution Capabilities</dc:title>
  <dc:creator>McCagg, Marty</dc:creator>
  <cp:lastModifiedBy>Vasilis Karastergios</cp:lastModifiedBy>
  <cp:revision>81</cp:revision>
  <dcterms:created xsi:type="dcterms:W3CDTF">2021-10-13T03:56:04Z</dcterms:created>
  <dcterms:modified xsi:type="dcterms:W3CDTF">2023-10-16T09:10:1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53CC3168B6C2D4D99959A344254B259</vt:lpwstr>
  </property>
</Properties>
</file>